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4"/>
  </p:sldMasterIdLst>
  <p:notesMasterIdLst>
    <p:notesMasterId r:id="rId17"/>
  </p:notesMasterIdLst>
  <p:handoutMasterIdLst>
    <p:handoutMasterId r:id="rId18"/>
  </p:handoutMasterIdLst>
  <p:sldIdLst>
    <p:sldId id="256" r:id="rId5"/>
    <p:sldId id="2892" r:id="rId6"/>
    <p:sldId id="2889" r:id="rId7"/>
    <p:sldId id="289" r:id="rId8"/>
    <p:sldId id="284" r:id="rId9"/>
    <p:sldId id="285" r:id="rId10"/>
    <p:sldId id="2891" r:id="rId11"/>
    <p:sldId id="286" r:id="rId12"/>
    <p:sldId id="287" r:id="rId13"/>
    <p:sldId id="288" r:id="rId14"/>
    <p:sldId id="2890" r:id="rId15"/>
    <p:sldId id="278" r:id="rId16"/>
  </p:sldIdLst>
  <p:sldSz cx="9144000" cy="6858000" type="screen4x3"/>
  <p:notesSz cx="7010400" cy="92964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EA638B19-AF8F-4D81-84F4-C0FB9B5D45B4}">
  <a:tblStyle styleId="{EA638B19-AF8F-4D81-84F4-C0FB9B5D45B4}" styleName="L3Harris Table 01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3175">
              <a:solidFill>
                <a:schemeClr val="dk1"/>
              </a:solidFill>
            </a:ln>
          </a:top>
          <a:bottom>
            <a:ln w="3175">
              <a:solidFill>
                <a:schemeClr val="dk1"/>
              </a:solidFill>
            </a:ln>
          </a:bottom>
          <a:insideH>
            <a:ln w="3175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lastCol>
      <a:tcTxStyle b="on">
        <a:fontRef idx="minor"/>
      </a:tcTxStyle>
      <a:tcStyle>
        <a:tcBdr/>
      </a:tcStyle>
    </a:lastCol>
    <a:firstCol>
      <a:tcTxStyle b="on">
        <a:fontRef idx="minor"/>
      </a:tcTxStyle>
      <a:tcStyle>
        <a:tcBdr/>
      </a:tcStyle>
    </a:firstCol>
    <a:lastRow>
      <a:tcTxStyle b="on">
        <a:fontRef idx="minor"/>
        <a:schemeClr val="dk1"/>
      </a:tcTxStyle>
      <a:tcStyle>
        <a:tcBdr>
          <a:top>
            <a:ln w="12700">
              <a:solidFill>
                <a:schemeClr val="dk1"/>
              </a:solidFill>
            </a:ln>
          </a:top>
          <a:bottom>
            <a:ln>
              <a:noFill/>
            </a:ln>
          </a:bottom>
        </a:tcBdr>
        <a:fill>
          <a:noFill/>
        </a:fill>
      </a:tcStyle>
    </a:lastRow>
    <a:firstRow>
      <a:tcTxStyle b="on">
        <a:fontRef idx="minor"/>
        <a:schemeClr val="lt1"/>
      </a:tcTxStyle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56"/>
  </p:normalViewPr>
  <p:slideViewPr>
    <p:cSldViewPr snapToGrid="0" showGuides="1">
      <p:cViewPr varScale="1">
        <p:scale>
          <a:sx n="72" d="100"/>
          <a:sy n="72" d="100"/>
        </p:scale>
        <p:origin x="1308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92"/>
    </p:cViewPr>
  </p:sorterViewPr>
  <p:notesViewPr>
    <p:cSldViewPr snapToGrid="0" showGuides="1">
      <p:cViewPr varScale="1">
        <p:scale>
          <a:sx n="166" d="100"/>
          <a:sy n="166" d="100"/>
        </p:scale>
        <p:origin x="6672" y="20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7EE1D40-1F1B-4BA2-9B01-2D0B6CE4F180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CE83458-400B-401B-A4EF-E4509658C447}">
      <dgm:prSet phldrT="[Text]" custT="1"/>
      <dgm:spPr>
        <a:solidFill>
          <a:schemeClr val="tx2"/>
        </a:solidFill>
      </dgm:spPr>
      <dgm:t>
        <a:bodyPr/>
        <a:lstStyle/>
        <a:p>
          <a:r>
            <a:rPr lang="en-US" sz="700" dirty="0"/>
            <a:t>L3Harris</a:t>
          </a:r>
        </a:p>
      </dgm:t>
    </dgm:pt>
    <dgm:pt modelId="{6C784AAC-D51F-4A32-88A9-AABEC8E48EB8}" type="parTrans" cxnId="{F9623F18-87BE-42D4-852F-5A746C59F770}">
      <dgm:prSet/>
      <dgm:spPr/>
      <dgm:t>
        <a:bodyPr/>
        <a:lstStyle/>
        <a:p>
          <a:endParaRPr lang="en-US" sz="2000"/>
        </a:p>
      </dgm:t>
    </dgm:pt>
    <dgm:pt modelId="{CE6C2C82-9EF8-4217-B285-2B6EC3894925}" type="sibTrans" cxnId="{F9623F18-87BE-42D4-852F-5A746C59F770}">
      <dgm:prSet/>
      <dgm:spPr/>
      <dgm:t>
        <a:bodyPr/>
        <a:lstStyle/>
        <a:p>
          <a:endParaRPr lang="en-US" sz="2000"/>
        </a:p>
      </dgm:t>
    </dgm:pt>
    <dgm:pt modelId="{992FBEEE-311A-45E2-8667-3FB8EB188CD6}">
      <dgm:prSet phldrT="[Text]" custT="1"/>
      <dgm:spPr/>
      <dgm:t>
        <a:bodyPr/>
        <a:lstStyle/>
        <a:p>
          <a:r>
            <a:rPr lang="en-US" sz="700" dirty="0"/>
            <a:t>Space &amp; Airborne Systems</a:t>
          </a:r>
        </a:p>
      </dgm:t>
    </dgm:pt>
    <dgm:pt modelId="{C1B2E56A-AEC6-4DCF-B7DC-AE4FB1082085}" type="parTrans" cxnId="{40CF4420-2A3F-4164-8215-72BCC0ADE626}">
      <dgm:prSet/>
      <dgm:spPr/>
      <dgm:t>
        <a:bodyPr/>
        <a:lstStyle/>
        <a:p>
          <a:endParaRPr lang="en-US" sz="2000"/>
        </a:p>
      </dgm:t>
    </dgm:pt>
    <dgm:pt modelId="{73B89924-BC53-44B1-B348-C6924CC8C6AF}" type="sibTrans" cxnId="{40CF4420-2A3F-4164-8215-72BCC0ADE626}">
      <dgm:prSet/>
      <dgm:spPr/>
      <dgm:t>
        <a:bodyPr/>
        <a:lstStyle/>
        <a:p>
          <a:endParaRPr lang="en-US" sz="2000"/>
        </a:p>
      </dgm:t>
    </dgm:pt>
    <dgm:pt modelId="{309F15C0-7D71-4507-B2A7-402E97825FB3}">
      <dgm:prSet phldrT="[Text]" custT="1"/>
      <dgm:spPr>
        <a:solidFill>
          <a:schemeClr val="accent5"/>
        </a:solidFill>
      </dgm:spPr>
      <dgm:t>
        <a:bodyPr/>
        <a:lstStyle/>
        <a:p>
          <a:r>
            <a:rPr lang="en-US" sz="700" dirty="0"/>
            <a:t>Communication Systems</a:t>
          </a:r>
        </a:p>
      </dgm:t>
    </dgm:pt>
    <dgm:pt modelId="{E5D2C440-62F7-40D4-A55E-077E65CAD987}" type="parTrans" cxnId="{E5F83E8E-06FB-4227-8225-1119156AA04E}">
      <dgm:prSet/>
      <dgm:spPr/>
      <dgm:t>
        <a:bodyPr/>
        <a:lstStyle/>
        <a:p>
          <a:endParaRPr lang="en-US" sz="2000"/>
        </a:p>
      </dgm:t>
    </dgm:pt>
    <dgm:pt modelId="{8F407F3A-2AB7-490D-9E1F-3F24AB1DE279}" type="sibTrans" cxnId="{E5F83E8E-06FB-4227-8225-1119156AA04E}">
      <dgm:prSet/>
      <dgm:spPr/>
      <dgm:t>
        <a:bodyPr/>
        <a:lstStyle/>
        <a:p>
          <a:endParaRPr lang="en-US" sz="2000"/>
        </a:p>
      </dgm:t>
    </dgm:pt>
    <dgm:pt modelId="{3F9845D8-66D2-4988-B089-E8B86914096C}">
      <dgm:prSet phldrT="[Text]" custT="1"/>
      <dgm:spPr>
        <a:solidFill>
          <a:schemeClr val="accent5"/>
        </a:solidFill>
      </dgm:spPr>
      <dgm:t>
        <a:bodyPr/>
        <a:lstStyle/>
        <a:p>
          <a:r>
            <a:rPr lang="en-US" sz="700" dirty="0"/>
            <a:t>Integrated Mission Systems</a:t>
          </a:r>
        </a:p>
      </dgm:t>
    </dgm:pt>
    <dgm:pt modelId="{18970AFF-0AE3-4876-AAAF-E775333568B1}" type="parTrans" cxnId="{F6006477-43F9-471C-9979-83E68AA92841}">
      <dgm:prSet/>
      <dgm:spPr/>
      <dgm:t>
        <a:bodyPr/>
        <a:lstStyle/>
        <a:p>
          <a:endParaRPr lang="en-US" sz="2000"/>
        </a:p>
      </dgm:t>
    </dgm:pt>
    <dgm:pt modelId="{FCF5FDE2-E00C-4DA4-A967-DF86A1504AFB}" type="sibTrans" cxnId="{F6006477-43F9-471C-9979-83E68AA92841}">
      <dgm:prSet/>
      <dgm:spPr/>
      <dgm:t>
        <a:bodyPr/>
        <a:lstStyle/>
        <a:p>
          <a:endParaRPr lang="en-US" sz="2000"/>
        </a:p>
      </dgm:t>
    </dgm:pt>
    <dgm:pt modelId="{E5475163-B40A-432B-B1E9-9055F94F8A66}">
      <dgm:prSet phldrT="[Text]" custT="1"/>
      <dgm:spPr>
        <a:solidFill>
          <a:schemeClr val="accent5"/>
        </a:solidFill>
      </dgm:spPr>
      <dgm:t>
        <a:bodyPr/>
        <a:lstStyle/>
        <a:p>
          <a:r>
            <a:rPr lang="en-US" sz="700" dirty="0"/>
            <a:t>Aviation Systems</a:t>
          </a:r>
        </a:p>
      </dgm:t>
    </dgm:pt>
    <dgm:pt modelId="{A14312D0-E8D6-4858-B6A6-E17430A3CB0F}" type="parTrans" cxnId="{34316FD1-2651-4E50-9425-E82C16D95847}">
      <dgm:prSet/>
      <dgm:spPr/>
      <dgm:t>
        <a:bodyPr/>
        <a:lstStyle/>
        <a:p>
          <a:endParaRPr lang="en-US" sz="2000"/>
        </a:p>
      </dgm:t>
    </dgm:pt>
    <dgm:pt modelId="{B52BB58C-46A7-4EAB-9D58-3E897B03C312}" type="sibTrans" cxnId="{34316FD1-2651-4E50-9425-E82C16D95847}">
      <dgm:prSet/>
      <dgm:spPr/>
      <dgm:t>
        <a:bodyPr/>
        <a:lstStyle/>
        <a:p>
          <a:endParaRPr lang="en-US" sz="2000"/>
        </a:p>
      </dgm:t>
    </dgm:pt>
    <dgm:pt modelId="{E57F7994-4FB0-4237-A319-70FE0B124B79}">
      <dgm:prSet phldrT="[Text]" custT="1"/>
      <dgm:spPr/>
      <dgm:t>
        <a:bodyPr/>
        <a:lstStyle/>
        <a:p>
          <a:r>
            <a:rPr lang="en-US" sz="700" dirty="0"/>
            <a:t>Electrical Engineering</a:t>
          </a:r>
        </a:p>
      </dgm:t>
    </dgm:pt>
    <dgm:pt modelId="{48CA4028-3C81-43BE-92F6-71F21328B224}" type="parTrans" cxnId="{FF0AB9F6-C996-4049-9B25-DFC16D71B7F2}">
      <dgm:prSet/>
      <dgm:spPr/>
      <dgm:t>
        <a:bodyPr/>
        <a:lstStyle/>
        <a:p>
          <a:endParaRPr lang="en-US" sz="2000"/>
        </a:p>
      </dgm:t>
    </dgm:pt>
    <dgm:pt modelId="{CAC5412E-5424-4B18-9EAE-21636AFD782F}" type="sibTrans" cxnId="{FF0AB9F6-C996-4049-9B25-DFC16D71B7F2}">
      <dgm:prSet/>
      <dgm:spPr/>
      <dgm:t>
        <a:bodyPr/>
        <a:lstStyle/>
        <a:p>
          <a:endParaRPr lang="en-US" sz="2000"/>
        </a:p>
      </dgm:t>
    </dgm:pt>
    <dgm:pt modelId="{72984D32-3A76-4C6D-A377-1EA311E2ADD3}">
      <dgm:prSet phldrT="[Text]" custT="1"/>
      <dgm:spPr/>
      <dgm:t>
        <a:bodyPr/>
        <a:lstStyle/>
        <a:p>
          <a:r>
            <a:rPr lang="en-US" sz="700" dirty="0"/>
            <a:t>FPGA</a:t>
          </a:r>
          <a:br>
            <a:rPr lang="en-US" sz="700" dirty="0"/>
          </a:br>
          <a:r>
            <a:rPr lang="en-US" sz="700" dirty="0"/>
            <a:t>Directorate</a:t>
          </a:r>
        </a:p>
      </dgm:t>
    </dgm:pt>
    <dgm:pt modelId="{7190A12B-3372-4DCB-9E6D-EE8145ADFE65}" type="parTrans" cxnId="{DADE7A0D-A035-4822-B3E8-4079F449701E}">
      <dgm:prSet/>
      <dgm:spPr/>
      <dgm:t>
        <a:bodyPr/>
        <a:lstStyle/>
        <a:p>
          <a:endParaRPr lang="en-US" sz="2000"/>
        </a:p>
      </dgm:t>
    </dgm:pt>
    <dgm:pt modelId="{16D029C6-0C83-4744-8A47-40475D8814BC}" type="sibTrans" cxnId="{DADE7A0D-A035-4822-B3E8-4079F449701E}">
      <dgm:prSet/>
      <dgm:spPr/>
      <dgm:t>
        <a:bodyPr/>
        <a:lstStyle/>
        <a:p>
          <a:endParaRPr lang="en-US" sz="2000"/>
        </a:p>
      </dgm:t>
    </dgm:pt>
    <dgm:pt modelId="{83C36FC8-7CAE-4711-A230-01B4EF4345DC}">
      <dgm:prSet phldrT="[Text]" custT="1"/>
      <dgm:spPr>
        <a:solidFill>
          <a:schemeClr val="accent3"/>
        </a:solidFill>
      </dgm:spPr>
      <dgm:t>
        <a:bodyPr/>
        <a:lstStyle/>
        <a:p>
          <a:r>
            <a:rPr lang="en-US" sz="700" dirty="0"/>
            <a:t>FPGA Processing</a:t>
          </a:r>
        </a:p>
      </dgm:t>
    </dgm:pt>
    <dgm:pt modelId="{69A6DF8F-BE6C-4FA2-A086-27E9469A516D}" type="parTrans" cxnId="{8FBB62BC-ADD9-4B6F-9222-CD1559449F97}">
      <dgm:prSet/>
      <dgm:spPr/>
      <dgm:t>
        <a:bodyPr/>
        <a:lstStyle/>
        <a:p>
          <a:endParaRPr lang="en-US" sz="2000"/>
        </a:p>
      </dgm:t>
    </dgm:pt>
    <dgm:pt modelId="{AFBB99B8-FBD0-4857-AE2F-8F3938FFC661}" type="sibTrans" cxnId="{8FBB62BC-ADD9-4B6F-9222-CD1559449F97}">
      <dgm:prSet/>
      <dgm:spPr/>
      <dgm:t>
        <a:bodyPr/>
        <a:lstStyle/>
        <a:p>
          <a:endParaRPr lang="en-US" sz="2000"/>
        </a:p>
      </dgm:t>
    </dgm:pt>
    <dgm:pt modelId="{37A8266C-883D-40A8-9614-853C0D9CBB38}">
      <dgm:prSet phldrT="[Text]" custT="1"/>
      <dgm:spPr>
        <a:solidFill>
          <a:schemeClr val="accent3"/>
        </a:solidFill>
      </dgm:spPr>
      <dgm:t>
        <a:bodyPr/>
        <a:lstStyle/>
        <a:p>
          <a:r>
            <a:rPr lang="en-US" sz="700" dirty="0"/>
            <a:t>FPGA Signals</a:t>
          </a:r>
        </a:p>
      </dgm:t>
    </dgm:pt>
    <dgm:pt modelId="{125CFA87-EE6E-4086-A7B4-F0AE9DB237D3}" type="parTrans" cxnId="{47B3376F-B083-4BAF-90E9-49897399D810}">
      <dgm:prSet/>
      <dgm:spPr/>
      <dgm:t>
        <a:bodyPr/>
        <a:lstStyle/>
        <a:p>
          <a:endParaRPr lang="en-US" sz="2000"/>
        </a:p>
      </dgm:t>
    </dgm:pt>
    <dgm:pt modelId="{B5723635-65AE-490C-9B08-63713F0C5BFF}" type="sibTrans" cxnId="{47B3376F-B083-4BAF-90E9-49897399D810}">
      <dgm:prSet/>
      <dgm:spPr/>
      <dgm:t>
        <a:bodyPr/>
        <a:lstStyle/>
        <a:p>
          <a:endParaRPr lang="en-US" sz="2000"/>
        </a:p>
      </dgm:t>
    </dgm:pt>
    <dgm:pt modelId="{20D357E4-9EC9-4A65-AE65-CE741DDA28E1}">
      <dgm:prSet phldrT="[Text]" custT="1"/>
      <dgm:spPr>
        <a:solidFill>
          <a:schemeClr val="accent3"/>
        </a:solidFill>
      </dgm:spPr>
      <dgm:t>
        <a:bodyPr/>
        <a:lstStyle/>
        <a:p>
          <a:r>
            <a:rPr lang="en-US" sz="700" dirty="0"/>
            <a:t>FPGA Spectrum</a:t>
          </a:r>
        </a:p>
      </dgm:t>
    </dgm:pt>
    <dgm:pt modelId="{9F4DE40F-E551-42BB-9F6A-89C49946A1BE}" type="parTrans" cxnId="{24F3778C-06DD-47C8-9C9A-1FC19A222A62}">
      <dgm:prSet/>
      <dgm:spPr/>
      <dgm:t>
        <a:bodyPr/>
        <a:lstStyle/>
        <a:p>
          <a:endParaRPr lang="en-US" sz="2000"/>
        </a:p>
      </dgm:t>
    </dgm:pt>
    <dgm:pt modelId="{62A40364-968C-4128-ADAC-EBBD4588DD88}" type="sibTrans" cxnId="{24F3778C-06DD-47C8-9C9A-1FC19A222A62}">
      <dgm:prSet/>
      <dgm:spPr/>
      <dgm:t>
        <a:bodyPr/>
        <a:lstStyle/>
        <a:p>
          <a:endParaRPr lang="en-US" sz="2000"/>
        </a:p>
      </dgm:t>
    </dgm:pt>
    <dgm:pt modelId="{60B5B6BB-483E-47B7-9051-9E289ABD8D0C}">
      <dgm:prSet phldrT="[Text]" custT="1"/>
      <dgm:spPr>
        <a:solidFill>
          <a:schemeClr val="accent3"/>
        </a:solidFill>
      </dgm:spPr>
      <dgm:t>
        <a:bodyPr/>
        <a:lstStyle/>
        <a:p>
          <a:r>
            <a:rPr lang="en-US" sz="700" dirty="0"/>
            <a:t>FPGA Resilience</a:t>
          </a:r>
        </a:p>
      </dgm:t>
    </dgm:pt>
    <dgm:pt modelId="{BF11562E-2F47-4F74-9D3C-DE2DFF933D31}" type="parTrans" cxnId="{3FD3934E-2785-45FB-8C5D-2EF9BCF122D1}">
      <dgm:prSet/>
      <dgm:spPr/>
      <dgm:t>
        <a:bodyPr/>
        <a:lstStyle/>
        <a:p>
          <a:endParaRPr lang="en-US"/>
        </a:p>
      </dgm:t>
    </dgm:pt>
    <dgm:pt modelId="{C848EA9A-AF77-4416-AEF5-1405A8EC41F8}" type="sibTrans" cxnId="{3FD3934E-2785-45FB-8C5D-2EF9BCF122D1}">
      <dgm:prSet/>
      <dgm:spPr/>
      <dgm:t>
        <a:bodyPr/>
        <a:lstStyle/>
        <a:p>
          <a:endParaRPr lang="en-US"/>
        </a:p>
      </dgm:t>
    </dgm:pt>
    <dgm:pt modelId="{D439F89E-5549-48BD-B798-1084CCEC2C7F}" type="pres">
      <dgm:prSet presAssocID="{07EE1D40-1F1B-4BA2-9B01-2D0B6CE4F180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62DDB99C-17BB-4605-BDAC-52DC1650AED6}" type="pres">
      <dgm:prSet presAssocID="{7CE83458-400B-401B-A4EF-E4509658C447}" presName="hierRoot1" presStyleCnt="0">
        <dgm:presLayoutVars>
          <dgm:hierBranch val="init"/>
        </dgm:presLayoutVars>
      </dgm:prSet>
      <dgm:spPr/>
    </dgm:pt>
    <dgm:pt modelId="{1DD8DE33-AA8C-4F15-809C-D22E0CD125CB}" type="pres">
      <dgm:prSet presAssocID="{7CE83458-400B-401B-A4EF-E4509658C447}" presName="rootComposite1" presStyleCnt="0"/>
      <dgm:spPr/>
    </dgm:pt>
    <dgm:pt modelId="{BF7625D5-DFB5-476E-AD51-A5B7610BB21E}" type="pres">
      <dgm:prSet presAssocID="{7CE83458-400B-401B-A4EF-E4509658C447}" presName="rootText1" presStyleLbl="node0" presStyleIdx="0" presStyleCnt="1" custScaleX="117567">
        <dgm:presLayoutVars>
          <dgm:chPref val="3"/>
        </dgm:presLayoutVars>
      </dgm:prSet>
      <dgm:spPr/>
    </dgm:pt>
    <dgm:pt modelId="{93BD860D-AB7C-4452-A976-1136F31CB0B8}" type="pres">
      <dgm:prSet presAssocID="{7CE83458-400B-401B-A4EF-E4509658C447}" presName="rootConnector1" presStyleLbl="node1" presStyleIdx="0" presStyleCnt="0"/>
      <dgm:spPr/>
    </dgm:pt>
    <dgm:pt modelId="{3DA07283-77F8-4083-89B0-C45D77F450CB}" type="pres">
      <dgm:prSet presAssocID="{7CE83458-400B-401B-A4EF-E4509658C447}" presName="hierChild2" presStyleCnt="0"/>
      <dgm:spPr/>
    </dgm:pt>
    <dgm:pt modelId="{41C89837-D7E4-4E44-B837-90FD79C5DDF0}" type="pres">
      <dgm:prSet presAssocID="{18970AFF-0AE3-4876-AAAF-E775333568B1}" presName="Name37" presStyleLbl="parChTrans1D2" presStyleIdx="0" presStyleCnt="4"/>
      <dgm:spPr/>
    </dgm:pt>
    <dgm:pt modelId="{7A66BEA0-9420-4AC9-866C-FFF8C825371D}" type="pres">
      <dgm:prSet presAssocID="{3F9845D8-66D2-4988-B089-E8B86914096C}" presName="hierRoot2" presStyleCnt="0">
        <dgm:presLayoutVars>
          <dgm:hierBranch val="init"/>
        </dgm:presLayoutVars>
      </dgm:prSet>
      <dgm:spPr/>
    </dgm:pt>
    <dgm:pt modelId="{E29FF098-A7A4-4555-A351-2E3BEAFF67B5}" type="pres">
      <dgm:prSet presAssocID="{3F9845D8-66D2-4988-B089-E8B86914096C}" presName="rootComposite" presStyleCnt="0"/>
      <dgm:spPr/>
    </dgm:pt>
    <dgm:pt modelId="{874F1D26-D257-4F7D-99C2-CD2029346DCE}" type="pres">
      <dgm:prSet presAssocID="{3F9845D8-66D2-4988-B089-E8B86914096C}" presName="rootText" presStyleLbl="node2" presStyleIdx="0" presStyleCnt="4" custScaleX="117567">
        <dgm:presLayoutVars>
          <dgm:chPref val="3"/>
        </dgm:presLayoutVars>
      </dgm:prSet>
      <dgm:spPr/>
    </dgm:pt>
    <dgm:pt modelId="{017E10E9-B8A3-470C-88C3-F839EEEF1DBC}" type="pres">
      <dgm:prSet presAssocID="{3F9845D8-66D2-4988-B089-E8B86914096C}" presName="rootConnector" presStyleLbl="node2" presStyleIdx="0" presStyleCnt="4"/>
      <dgm:spPr/>
    </dgm:pt>
    <dgm:pt modelId="{E8AE26B3-84E1-4AE3-B37C-6586F422B215}" type="pres">
      <dgm:prSet presAssocID="{3F9845D8-66D2-4988-B089-E8B86914096C}" presName="hierChild4" presStyleCnt="0"/>
      <dgm:spPr/>
    </dgm:pt>
    <dgm:pt modelId="{1F95E224-56EB-4397-B93D-E3A4C04F3558}" type="pres">
      <dgm:prSet presAssocID="{3F9845D8-66D2-4988-B089-E8B86914096C}" presName="hierChild5" presStyleCnt="0"/>
      <dgm:spPr/>
    </dgm:pt>
    <dgm:pt modelId="{C557EA18-2002-4453-A5BF-FD40B9ED8316}" type="pres">
      <dgm:prSet presAssocID="{C1B2E56A-AEC6-4DCF-B7DC-AE4FB1082085}" presName="Name37" presStyleLbl="parChTrans1D2" presStyleIdx="1" presStyleCnt="4"/>
      <dgm:spPr/>
    </dgm:pt>
    <dgm:pt modelId="{3A91296D-A828-4DFB-9560-0103FAFB4568}" type="pres">
      <dgm:prSet presAssocID="{992FBEEE-311A-45E2-8667-3FB8EB188CD6}" presName="hierRoot2" presStyleCnt="0">
        <dgm:presLayoutVars>
          <dgm:hierBranch val="init"/>
        </dgm:presLayoutVars>
      </dgm:prSet>
      <dgm:spPr/>
    </dgm:pt>
    <dgm:pt modelId="{86AD12C9-1016-4D39-BA4D-F94475A9377B}" type="pres">
      <dgm:prSet presAssocID="{992FBEEE-311A-45E2-8667-3FB8EB188CD6}" presName="rootComposite" presStyleCnt="0"/>
      <dgm:spPr/>
    </dgm:pt>
    <dgm:pt modelId="{13A83691-734B-409A-9293-D3526000BA41}" type="pres">
      <dgm:prSet presAssocID="{992FBEEE-311A-45E2-8667-3FB8EB188CD6}" presName="rootText" presStyleLbl="node2" presStyleIdx="1" presStyleCnt="4" custScaleX="117567">
        <dgm:presLayoutVars>
          <dgm:chPref val="3"/>
        </dgm:presLayoutVars>
      </dgm:prSet>
      <dgm:spPr/>
    </dgm:pt>
    <dgm:pt modelId="{2458214D-1C83-4B33-85BD-CCE371F08F5A}" type="pres">
      <dgm:prSet presAssocID="{992FBEEE-311A-45E2-8667-3FB8EB188CD6}" presName="rootConnector" presStyleLbl="node2" presStyleIdx="1" presStyleCnt="4"/>
      <dgm:spPr/>
    </dgm:pt>
    <dgm:pt modelId="{FB835E5D-5359-4FBB-B0E9-251D3C9F7FE0}" type="pres">
      <dgm:prSet presAssocID="{992FBEEE-311A-45E2-8667-3FB8EB188CD6}" presName="hierChild4" presStyleCnt="0"/>
      <dgm:spPr/>
    </dgm:pt>
    <dgm:pt modelId="{DC0EAAF9-27EC-4FD7-AEA5-56D0F7EE0F30}" type="pres">
      <dgm:prSet presAssocID="{48CA4028-3C81-43BE-92F6-71F21328B224}" presName="Name37" presStyleLbl="parChTrans1D3" presStyleIdx="0" presStyleCnt="1"/>
      <dgm:spPr/>
    </dgm:pt>
    <dgm:pt modelId="{6204F10A-CA67-467B-AEF3-688E39F165E6}" type="pres">
      <dgm:prSet presAssocID="{E57F7994-4FB0-4237-A319-70FE0B124B79}" presName="hierRoot2" presStyleCnt="0">
        <dgm:presLayoutVars>
          <dgm:hierBranch val="init"/>
        </dgm:presLayoutVars>
      </dgm:prSet>
      <dgm:spPr/>
    </dgm:pt>
    <dgm:pt modelId="{22C72D57-BD1A-47A5-9F52-1FD20CAC3B43}" type="pres">
      <dgm:prSet presAssocID="{E57F7994-4FB0-4237-A319-70FE0B124B79}" presName="rootComposite" presStyleCnt="0"/>
      <dgm:spPr/>
    </dgm:pt>
    <dgm:pt modelId="{01A4A94E-918D-4B7C-B4AD-F31F476EEB98}" type="pres">
      <dgm:prSet presAssocID="{E57F7994-4FB0-4237-A319-70FE0B124B79}" presName="rootText" presStyleLbl="node3" presStyleIdx="0" presStyleCnt="1" custScaleX="117567">
        <dgm:presLayoutVars>
          <dgm:chPref val="3"/>
        </dgm:presLayoutVars>
      </dgm:prSet>
      <dgm:spPr/>
    </dgm:pt>
    <dgm:pt modelId="{A644AC1D-DBF8-45AE-AB2E-7AB158E3E75F}" type="pres">
      <dgm:prSet presAssocID="{E57F7994-4FB0-4237-A319-70FE0B124B79}" presName="rootConnector" presStyleLbl="node3" presStyleIdx="0" presStyleCnt="1"/>
      <dgm:spPr/>
    </dgm:pt>
    <dgm:pt modelId="{3E341F43-F051-43BE-BB7E-F3D4BB9E6695}" type="pres">
      <dgm:prSet presAssocID="{E57F7994-4FB0-4237-A319-70FE0B124B79}" presName="hierChild4" presStyleCnt="0"/>
      <dgm:spPr/>
    </dgm:pt>
    <dgm:pt modelId="{2BFC67E0-8DA6-4FBA-B29E-633CEF9B3A53}" type="pres">
      <dgm:prSet presAssocID="{7190A12B-3372-4DCB-9E6D-EE8145ADFE65}" presName="Name37" presStyleLbl="parChTrans1D4" presStyleIdx="0" presStyleCnt="5"/>
      <dgm:spPr/>
    </dgm:pt>
    <dgm:pt modelId="{77CA01EA-58EC-4A88-AF96-A1BFB96B2B90}" type="pres">
      <dgm:prSet presAssocID="{72984D32-3A76-4C6D-A377-1EA311E2ADD3}" presName="hierRoot2" presStyleCnt="0">
        <dgm:presLayoutVars>
          <dgm:hierBranch/>
        </dgm:presLayoutVars>
      </dgm:prSet>
      <dgm:spPr/>
    </dgm:pt>
    <dgm:pt modelId="{8824D9C0-B685-4A34-B1D8-665C34E7018A}" type="pres">
      <dgm:prSet presAssocID="{72984D32-3A76-4C6D-A377-1EA311E2ADD3}" presName="rootComposite" presStyleCnt="0"/>
      <dgm:spPr/>
    </dgm:pt>
    <dgm:pt modelId="{59692B6D-3CAF-4896-8099-3725EC27B2BC}" type="pres">
      <dgm:prSet presAssocID="{72984D32-3A76-4C6D-A377-1EA311E2ADD3}" presName="rootText" presStyleLbl="node4" presStyleIdx="0" presStyleCnt="5" custScaleX="117567">
        <dgm:presLayoutVars>
          <dgm:chPref val="3"/>
        </dgm:presLayoutVars>
      </dgm:prSet>
      <dgm:spPr/>
    </dgm:pt>
    <dgm:pt modelId="{4EBA1732-C9BA-4578-B803-C35CC4DBA47B}" type="pres">
      <dgm:prSet presAssocID="{72984D32-3A76-4C6D-A377-1EA311E2ADD3}" presName="rootConnector" presStyleLbl="node4" presStyleIdx="0" presStyleCnt="5"/>
      <dgm:spPr/>
    </dgm:pt>
    <dgm:pt modelId="{7DC8DC31-A7A8-4A5D-B07F-0005B73372BA}" type="pres">
      <dgm:prSet presAssocID="{72984D32-3A76-4C6D-A377-1EA311E2ADD3}" presName="hierChild4" presStyleCnt="0"/>
      <dgm:spPr/>
    </dgm:pt>
    <dgm:pt modelId="{29DE81F3-BC36-4AAB-B6E8-1836051BCA54}" type="pres">
      <dgm:prSet presAssocID="{69A6DF8F-BE6C-4FA2-A086-27E9469A516D}" presName="Name35" presStyleLbl="parChTrans1D4" presStyleIdx="1" presStyleCnt="5"/>
      <dgm:spPr/>
    </dgm:pt>
    <dgm:pt modelId="{F8092AA2-7E8D-4C10-8836-A64D479D8027}" type="pres">
      <dgm:prSet presAssocID="{83C36FC8-7CAE-4711-A230-01B4EF4345DC}" presName="hierRoot2" presStyleCnt="0">
        <dgm:presLayoutVars>
          <dgm:hierBranch val="init"/>
        </dgm:presLayoutVars>
      </dgm:prSet>
      <dgm:spPr/>
    </dgm:pt>
    <dgm:pt modelId="{C48CEAAA-701C-4D44-BAE5-8C64EB2DE75D}" type="pres">
      <dgm:prSet presAssocID="{83C36FC8-7CAE-4711-A230-01B4EF4345DC}" presName="rootComposite" presStyleCnt="0"/>
      <dgm:spPr/>
    </dgm:pt>
    <dgm:pt modelId="{293090C8-A669-4E31-BF3A-6042E2D70964}" type="pres">
      <dgm:prSet presAssocID="{83C36FC8-7CAE-4711-A230-01B4EF4345DC}" presName="rootText" presStyleLbl="node4" presStyleIdx="1" presStyleCnt="5" custScaleX="117567">
        <dgm:presLayoutVars>
          <dgm:chPref val="3"/>
        </dgm:presLayoutVars>
      </dgm:prSet>
      <dgm:spPr/>
    </dgm:pt>
    <dgm:pt modelId="{0AC922CE-AA10-4170-B471-2746C84904BE}" type="pres">
      <dgm:prSet presAssocID="{83C36FC8-7CAE-4711-A230-01B4EF4345DC}" presName="rootConnector" presStyleLbl="node4" presStyleIdx="1" presStyleCnt="5"/>
      <dgm:spPr/>
    </dgm:pt>
    <dgm:pt modelId="{A199B826-4A20-477C-B955-760654A77086}" type="pres">
      <dgm:prSet presAssocID="{83C36FC8-7CAE-4711-A230-01B4EF4345DC}" presName="hierChild4" presStyleCnt="0"/>
      <dgm:spPr/>
    </dgm:pt>
    <dgm:pt modelId="{7163C835-3B40-4413-9833-7F931785A889}" type="pres">
      <dgm:prSet presAssocID="{83C36FC8-7CAE-4711-A230-01B4EF4345DC}" presName="hierChild5" presStyleCnt="0"/>
      <dgm:spPr/>
    </dgm:pt>
    <dgm:pt modelId="{17D64093-5259-47BF-9714-40EBE4CF25E9}" type="pres">
      <dgm:prSet presAssocID="{125CFA87-EE6E-4086-A7B4-F0AE9DB237D3}" presName="Name35" presStyleLbl="parChTrans1D4" presStyleIdx="2" presStyleCnt="5"/>
      <dgm:spPr/>
    </dgm:pt>
    <dgm:pt modelId="{8F456B1A-C307-453D-9E06-BC46DDDF1B54}" type="pres">
      <dgm:prSet presAssocID="{37A8266C-883D-40A8-9614-853C0D9CBB38}" presName="hierRoot2" presStyleCnt="0">
        <dgm:presLayoutVars>
          <dgm:hierBranch val="init"/>
        </dgm:presLayoutVars>
      </dgm:prSet>
      <dgm:spPr/>
    </dgm:pt>
    <dgm:pt modelId="{E7AAC5D4-502E-4A8C-B59D-522970B93D50}" type="pres">
      <dgm:prSet presAssocID="{37A8266C-883D-40A8-9614-853C0D9CBB38}" presName="rootComposite" presStyleCnt="0"/>
      <dgm:spPr/>
    </dgm:pt>
    <dgm:pt modelId="{A213E35F-B094-46C4-AD86-3FB9D0830FD2}" type="pres">
      <dgm:prSet presAssocID="{37A8266C-883D-40A8-9614-853C0D9CBB38}" presName="rootText" presStyleLbl="node4" presStyleIdx="2" presStyleCnt="5" custScaleX="117567">
        <dgm:presLayoutVars>
          <dgm:chPref val="3"/>
        </dgm:presLayoutVars>
      </dgm:prSet>
      <dgm:spPr/>
    </dgm:pt>
    <dgm:pt modelId="{1CD954A4-773D-4716-BAB1-73C9B34F5044}" type="pres">
      <dgm:prSet presAssocID="{37A8266C-883D-40A8-9614-853C0D9CBB38}" presName="rootConnector" presStyleLbl="node4" presStyleIdx="2" presStyleCnt="5"/>
      <dgm:spPr/>
    </dgm:pt>
    <dgm:pt modelId="{153B067D-F784-4FBD-B24A-C54DBBA1F0F8}" type="pres">
      <dgm:prSet presAssocID="{37A8266C-883D-40A8-9614-853C0D9CBB38}" presName="hierChild4" presStyleCnt="0"/>
      <dgm:spPr/>
    </dgm:pt>
    <dgm:pt modelId="{651948EB-F110-4CA9-8FFC-E35AFDAA48A3}" type="pres">
      <dgm:prSet presAssocID="{37A8266C-883D-40A8-9614-853C0D9CBB38}" presName="hierChild5" presStyleCnt="0"/>
      <dgm:spPr/>
    </dgm:pt>
    <dgm:pt modelId="{3D3C16C9-FA9D-43FA-874C-48E6E3AC7E63}" type="pres">
      <dgm:prSet presAssocID="{9F4DE40F-E551-42BB-9F6A-89C49946A1BE}" presName="Name35" presStyleLbl="parChTrans1D4" presStyleIdx="3" presStyleCnt="5"/>
      <dgm:spPr/>
    </dgm:pt>
    <dgm:pt modelId="{20560646-51CB-4859-A99C-397F547B09BF}" type="pres">
      <dgm:prSet presAssocID="{20D357E4-9EC9-4A65-AE65-CE741DDA28E1}" presName="hierRoot2" presStyleCnt="0">
        <dgm:presLayoutVars>
          <dgm:hierBranch val="init"/>
        </dgm:presLayoutVars>
      </dgm:prSet>
      <dgm:spPr/>
    </dgm:pt>
    <dgm:pt modelId="{579A88BF-8B04-497A-8EEE-823F3EE09765}" type="pres">
      <dgm:prSet presAssocID="{20D357E4-9EC9-4A65-AE65-CE741DDA28E1}" presName="rootComposite" presStyleCnt="0"/>
      <dgm:spPr/>
    </dgm:pt>
    <dgm:pt modelId="{02E3E8CC-715B-4508-9F77-5D81908D8A39}" type="pres">
      <dgm:prSet presAssocID="{20D357E4-9EC9-4A65-AE65-CE741DDA28E1}" presName="rootText" presStyleLbl="node4" presStyleIdx="3" presStyleCnt="5" custScaleX="117567">
        <dgm:presLayoutVars>
          <dgm:chPref val="3"/>
        </dgm:presLayoutVars>
      </dgm:prSet>
      <dgm:spPr/>
    </dgm:pt>
    <dgm:pt modelId="{12D6BB77-D6D1-4B71-B2C5-54836B469A6A}" type="pres">
      <dgm:prSet presAssocID="{20D357E4-9EC9-4A65-AE65-CE741DDA28E1}" presName="rootConnector" presStyleLbl="node4" presStyleIdx="3" presStyleCnt="5"/>
      <dgm:spPr/>
    </dgm:pt>
    <dgm:pt modelId="{6CD51FE8-272A-4CA4-A747-741A80EB3A27}" type="pres">
      <dgm:prSet presAssocID="{20D357E4-9EC9-4A65-AE65-CE741DDA28E1}" presName="hierChild4" presStyleCnt="0"/>
      <dgm:spPr/>
    </dgm:pt>
    <dgm:pt modelId="{8021E6A2-766F-485D-906C-95E4738503F5}" type="pres">
      <dgm:prSet presAssocID="{20D357E4-9EC9-4A65-AE65-CE741DDA28E1}" presName="hierChild5" presStyleCnt="0"/>
      <dgm:spPr/>
    </dgm:pt>
    <dgm:pt modelId="{966E31BE-2E0C-4780-8BC4-F0411B9C5795}" type="pres">
      <dgm:prSet presAssocID="{BF11562E-2F47-4F74-9D3C-DE2DFF933D31}" presName="Name35" presStyleLbl="parChTrans1D4" presStyleIdx="4" presStyleCnt="5"/>
      <dgm:spPr/>
    </dgm:pt>
    <dgm:pt modelId="{35314BEC-EC01-47B6-8F83-084D154CBB4E}" type="pres">
      <dgm:prSet presAssocID="{60B5B6BB-483E-47B7-9051-9E289ABD8D0C}" presName="hierRoot2" presStyleCnt="0">
        <dgm:presLayoutVars>
          <dgm:hierBranch val="init"/>
        </dgm:presLayoutVars>
      </dgm:prSet>
      <dgm:spPr/>
    </dgm:pt>
    <dgm:pt modelId="{C281F08A-3C40-4B0B-84B2-E6CB68FB76FC}" type="pres">
      <dgm:prSet presAssocID="{60B5B6BB-483E-47B7-9051-9E289ABD8D0C}" presName="rootComposite" presStyleCnt="0"/>
      <dgm:spPr/>
    </dgm:pt>
    <dgm:pt modelId="{A3CB5FCA-E101-4273-93D9-E6B2BB0DE290}" type="pres">
      <dgm:prSet presAssocID="{60B5B6BB-483E-47B7-9051-9E289ABD8D0C}" presName="rootText" presStyleLbl="node4" presStyleIdx="4" presStyleCnt="5" custScaleX="117406">
        <dgm:presLayoutVars>
          <dgm:chPref val="3"/>
        </dgm:presLayoutVars>
      </dgm:prSet>
      <dgm:spPr/>
    </dgm:pt>
    <dgm:pt modelId="{97C27ED5-D712-4CEF-B27C-A4BA5F054474}" type="pres">
      <dgm:prSet presAssocID="{60B5B6BB-483E-47B7-9051-9E289ABD8D0C}" presName="rootConnector" presStyleLbl="node4" presStyleIdx="4" presStyleCnt="5"/>
      <dgm:spPr/>
    </dgm:pt>
    <dgm:pt modelId="{92EEEDAD-A02D-40BB-85BA-C9009F1A9411}" type="pres">
      <dgm:prSet presAssocID="{60B5B6BB-483E-47B7-9051-9E289ABD8D0C}" presName="hierChild4" presStyleCnt="0"/>
      <dgm:spPr/>
    </dgm:pt>
    <dgm:pt modelId="{0C344B60-8504-4DF3-9A09-27B0704AAF47}" type="pres">
      <dgm:prSet presAssocID="{60B5B6BB-483E-47B7-9051-9E289ABD8D0C}" presName="hierChild5" presStyleCnt="0"/>
      <dgm:spPr/>
    </dgm:pt>
    <dgm:pt modelId="{9065EEAD-CD70-446A-A53B-21EE6ABA2A04}" type="pres">
      <dgm:prSet presAssocID="{72984D32-3A76-4C6D-A377-1EA311E2ADD3}" presName="hierChild5" presStyleCnt="0"/>
      <dgm:spPr/>
    </dgm:pt>
    <dgm:pt modelId="{5C24673D-9F31-4750-B9A7-6CECD5299D20}" type="pres">
      <dgm:prSet presAssocID="{E57F7994-4FB0-4237-A319-70FE0B124B79}" presName="hierChild5" presStyleCnt="0"/>
      <dgm:spPr/>
    </dgm:pt>
    <dgm:pt modelId="{B322D306-46D3-4938-B0AC-72B94A4ACABA}" type="pres">
      <dgm:prSet presAssocID="{992FBEEE-311A-45E2-8667-3FB8EB188CD6}" presName="hierChild5" presStyleCnt="0"/>
      <dgm:spPr/>
    </dgm:pt>
    <dgm:pt modelId="{A000CE27-C8BA-4AA7-B3FA-613CE32761AC}" type="pres">
      <dgm:prSet presAssocID="{E5D2C440-62F7-40D4-A55E-077E65CAD987}" presName="Name37" presStyleLbl="parChTrans1D2" presStyleIdx="2" presStyleCnt="4"/>
      <dgm:spPr/>
    </dgm:pt>
    <dgm:pt modelId="{8FC4D53D-7EDF-4376-BB0E-7BD8AE49EBCD}" type="pres">
      <dgm:prSet presAssocID="{309F15C0-7D71-4507-B2A7-402E97825FB3}" presName="hierRoot2" presStyleCnt="0">
        <dgm:presLayoutVars>
          <dgm:hierBranch val="init"/>
        </dgm:presLayoutVars>
      </dgm:prSet>
      <dgm:spPr/>
    </dgm:pt>
    <dgm:pt modelId="{7FE22F66-8037-4FFE-AD4B-D93D63B3B880}" type="pres">
      <dgm:prSet presAssocID="{309F15C0-7D71-4507-B2A7-402E97825FB3}" presName="rootComposite" presStyleCnt="0"/>
      <dgm:spPr/>
    </dgm:pt>
    <dgm:pt modelId="{68E47E13-221D-45D8-8836-0E233EAD04AF}" type="pres">
      <dgm:prSet presAssocID="{309F15C0-7D71-4507-B2A7-402E97825FB3}" presName="rootText" presStyleLbl="node2" presStyleIdx="2" presStyleCnt="4" custScaleX="117567">
        <dgm:presLayoutVars>
          <dgm:chPref val="3"/>
        </dgm:presLayoutVars>
      </dgm:prSet>
      <dgm:spPr/>
    </dgm:pt>
    <dgm:pt modelId="{4F9D59A8-D4BD-41DF-9CB6-284320760C00}" type="pres">
      <dgm:prSet presAssocID="{309F15C0-7D71-4507-B2A7-402E97825FB3}" presName="rootConnector" presStyleLbl="node2" presStyleIdx="2" presStyleCnt="4"/>
      <dgm:spPr/>
    </dgm:pt>
    <dgm:pt modelId="{E74C80A4-BCB5-4FC7-BAF7-ADB5B5AD062A}" type="pres">
      <dgm:prSet presAssocID="{309F15C0-7D71-4507-B2A7-402E97825FB3}" presName="hierChild4" presStyleCnt="0"/>
      <dgm:spPr/>
    </dgm:pt>
    <dgm:pt modelId="{0B13A696-3C83-4A6B-8E48-161BFF7F639A}" type="pres">
      <dgm:prSet presAssocID="{309F15C0-7D71-4507-B2A7-402E97825FB3}" presName="hierChild5" presStyleCnt="0"/>
      <dgm:spPr/>
    </dgm:pt>
    <dgm:pt modelId="{0E8D2F5E-D241-491C-8B40-46B21964B1A5}" type="pres">
      <dgm:prSet presAssocID="{A14312D0-E8D6-4858-B6A6-E17430A3CB0F}" presName="Name37" presStyleLbl="parChTrans1D2" presStyleIdx="3" presStyleCnt="4"/>
      <dgm:spPr/>
    </dgm:pt>
    <dgm:pt modelId="{D274F69F-690C-4A97-A8B8-49CA20A9475C}" type="pres">
      <dgm:prSet presAssocID="{E5475163-B40A-432B-B1E9-9055F94F8A66}" presName="hierRoot2" presStyleCnt="0">
        <dgm:presLayoutVars>
          <dgm:hierBranch val="init"/>
        </dgm:presLayoutVars>
      </dgm:prSet>
      <dgm:spPr/>
    </dgm:pt>
    <dgm:pt modelId="{42654F3F-C7C4-412E-A728-40220CA5DC37}" type="pres">
      <dgm:prSet presAssocID="{E5475163-B40A-432B-B1E9-9055F94F8A66}" presName="rootComposite" presStyleCnt="0"/>
      <dgm:spPr/>
    </dgm:pt>
    <dgm:pt modelId="{07A0980B-3926-4D71-A4C3-262F6FAA7CC3}" type="pres">
      <dgm:prSet presAssocID="{E5475163-B40A-432B-B1E9-9055F94F8A66}" presName="rootText" presStyleLbl="node2" presStyleIdx="3" presStyleCnt="4" custScaleX="117567">
        <dgm:presLayoutVars>
          <dgm:chPref val="3"/>
        </dgm:presLayoutVars>
      </dgm:prSet>
      <dgm:spPr/>
    </dgm:pt>
    <dgm:pt modelId="{FF7AEED9-E673-48F1-8D98-5C9D3AE0FBF5}" type="pres">
      <dgm:prSet presAssocID="{E5475163-B40A-432B-B1E9-9055F94F8A66}" presName="rootConnector" presStyleLbl="node2" presStyleIdx="3" presStyleCnt="4"/>
      <dgm:spPr/>
    </dgm:pt>
    <dgm:pt modelId="{8D7DC520-FD15-484C-A08A-D3D0AAD43C99}" type="pres">
      <dgm:prSet presAssocID="{E5475163-B40A-432B-B1E9-9055F94F8A66}" presName="hierChild4" presStyleCnt="0"/>
      <dgm:spPr/>
    </dgm:pt>
    <dgm:pt modelId="{6AE7A5E6-383E-4646-B029-CCC1F08D54D2}" type="pres">
      <dgm:prSet presAssocID="{E5475163-B40A-432B-B1E9-9055F94F8A66}" presName="hierChild5" presStyleCnt="0"/>
      <dgm:spPr/>
    </dgm:pt>
    <dgm:pt modelId="{F7D490F0-5A59-40FD-BD2B-D3BA2D746886}" type="pres">
      <dgm:prSet presAssocID="{7CE83458-400B-401B-A4EF-E4509658C447}" presName="hierChild3" presStyleCnt="0"/>
      <dgm:spPr/>
    </dgm:pt>
  </dgm:ptLst>
  <dgm:cxnLst>
    <dgm:cxn modelId="{BD2D9F04-6412-4A24-8084-CCDC9AB228F1}" type="presOf" srcId="{C1B2E56A-AEC6-4DCF-B7DC-AE4FB1082085}" destId="{C557EA18-2002-4453-A5BF-FD40B9ED8316}" srcOrd="0" destOrd="0" presId="urn:microsoft.com/office/officeart/2005/8/layout/orgChart1"/>
    <dgm:cxn modelId="{EAEA4205-8E1F-4BC9-9958-7577ADBCE631}" type="presOf" srcId="{83C36FC8-7CAE-4711-A230-01B4EF4345DC}" destId="{0AC922CE-AA10-4170-B471-2746C84904BE}" srcOrd="1" destOrd="0" presId="urn:microsoft.com/office/officeart/2005/8/layout/orgChart1"/>
    <dgm:cxn modelId="{C9BA1609-2BF0-4731-960D-CF73BE8E1FEE}" type="presOf" srcId="{20D357E4-9EC9-4A65-AE65-CE741DDA28E1}" destId="{12D6BB77-D6D1-4B71-B2C5-54836B469A6A}" srcOrd="1" destOrd="0" presId="urn:microsoft.com/office/officeart/2005/8/layout/orgChart1"/>
    <dgm:cxn modelId="{3553D60A-D05D-47E1-BE21-495FE3C5675C}" type="presOf" srcId="{125CFA87-EE6E-4086-A7B4-F0AE9DB237D3}" destId="{17D64093-5259-47BF-9714-40EBE4CF25E9}" srcOrd="0" destOrd="0" presId="urn:microsoft.com/office/officeart/2005/8/layout/orgChart1"/>
    <dgm:cxn modelId="{84F1D30C-BEF4-400A-BC73-2B639ACA94E0}" type="presOf" srcId="{37A8266C-883D-40A8-9614-853C0D9CBB38}" destId="{1CD954A4-773D-4716-BAB1-73C9B34F5044}" srcOrd="1" destOrd="0" presId="urn:microsoft.com/office/officeart/2005/8/layout/orgChart1"/>
    <dgm:cxn modelId="{706D480D-0C53-45AB-94CD-3467CF07867C}" type="presOf" srcId="{20D357E4-9EC9-4A65-AE65-CE741DDA28E1}" destId="{02E3E8CC-715B-4508-9F77-5D81908D8A39}" srcOrd="0" destOrd="0" presId="urn:microsoft.com/office/officeart/2005/8/layout/orgChart1"/>
    <dgm:cxn modelId="{DADE7A0D-A035-4822-B3E8-4079F449701E}" srcId="{E57F7994-4FB0-4237-A319-70FE0B124B79}" destId="{72984D32-3A76-4C6D-A377-1EA311E2ADD3}" srcOrd="0" destOrd="0" parTransId="{7190A12B-3372-4DCB-9E6D-EE8145ADFE65}" sibTransId="{16D029C6-0C83-4744-8A47-40475D8814BC}"/>
    <dgm:cxn modelId="{E443380E-04A3-4C27-8623-2960D0815D04}" type="presOf" srcId="{992FBEEE-311A-45E2-8667-3FB8EB188CD6}" destId="{13A83691-734B-409A-9293-D3526000BA41}" srcOrd="0" destOrd="0" presId="urn:microsoft.com/office/officeart/2005/8/layout/orgChart1"/>
    <dgm:cxn modelId="{7955C216-932E-4D0E-857C-0B83C1025D65}" type="presOf" srcId="{BF11562E-2F47-4F74-9D3C-DE2DFF933D31}" destId="{966E31BE-2E0C-4780-8BC4-F0411B9C5795}" srcOrd="0" destOrd="0" presId="urn:microsoft.com/office/officeart/2005/8/layout/orgChart1"/>
    <dgm:cxn modelId="{F9623F18-87BE-42D4-852F-5A746C59F770}" srcId="{07EE1D40-1F1B-4BA2-9B01-2D0B6CE4F180}" destId="{7CE83458-400B-401B-A4EF-E4509658C447}" srcOrd="0" destOrd="0" parTransId="{6C784AAC-D51F-4A32-88A9-AABEC8E48EB8}" sibTransId="{CE6C2C82-9EF8-4217-B285-2B6EC3894925}"/>
    <dgm:cxn modelId="{02718D1F-B39A-4D18-A60B-A8C40CB94A27}" type="presOf" srcId="{3F9845D8-66D2-4988-B089-E8B86914096C}" destId="{017E10E9-B8A3-470C-88C3-F839EEEF1DBC}" srcOrd="1" destOrd="0" presId="urn:microsoft.com/office/officeart/2005/8/layout/orgChart1"/>
    <dgm:cxn modelId="{40CF4420-2A3F-4164-8215-72BCC0ADE626}" srcId="{7CE83458-400B-401B-A4EF-E4509658C447}" destId="{992FBEEE-311A-45E2-8667-3FB8EB188CD6}" srcOrd="1" destOrd="0" parTransId="{C1B2E56A-AEC6-4DCF-B7DC-AE4FB1082085}" sibTransId="{73B89924-BC53-44B1-B348-C6924CC8C6AF}"/>
    <dgm:cxn modelId="{2F06C020-73DE-4741-9637-EF9856B6F9F9}" type="presOf" srcId="{69A6DF8F-BE6C-4FA2-A086-27E9469A516D}" destId="{29DE81F3-BC36-4AAB-B6E8-1836051BCA54}" srcOrd="0" destOrd="0" presId="urn:microsoft.com/office/officeart/2005/8/layout/orgChart1"/>
    <dgm:cxn modelId="{5B40383F-4525-44E3-9DA7-2E705421954F}" type="presOf" srcId="{309F15C0-7D71-4507-B2A7-402E97825FB3}" destId="{68E47E13-221D-45D8-8836-0E233EAD04AF}" srcOrd="0" destOrd="0" presId="urn:microsoft.com/office/officeart/2005/8/layout/orgChart1"/>
    <dgm:cxn modelId="{8ACA2147-DF8E-4AA9-BD5D-2278FE443CC2}" type="presOf" srcId="{7190A12B-3372-4DCB-9E6D-EE8145ADFE65}" destId="{2BFC67E0-8DA6-4FBA-B29E-633CEF9B3A53}" srcOrd="0" destOrd="0" presId="urn:microsoft.com/office/officeart/2005/8/layout/orgChart1"/>
    <dgm:cxn modelId="{9AD2C568-FF09-4252-A764-2B2D2DC85543}" type="presOf" srcId="{07EE1D40-1F1B-4BA2-9B01-2D0B6CE4F180}" destId="{D439F89E-5549-48BD-B798-1084CCEC2C7F}" srcOrd="0" destOrd="0" presId="urn:microsoft.com/office/officeart/2005/8/layout/orgChart1"/>
    <dgm:cxn modelId="{DCAFC669-4873-4EC2-ACDF-16EA259D9477}" type="presOf" srcId="{E5D2C440-62F7-40D4-A55E-077E65CAD987}" destId="{A000CE27-C8BA-4AA7-B3FA-613CE32761AC}" srcOrd="0" destOrd="0" presId="urn:microsoft.com/office/officeart/2005/8/layout/orgChart1"/>
    <dgm:cxn modelId="{3FD3934E-2785-45FB-8C5D-2EF9BCF122D1}" srcId="{72984D32-3A76-4C6D-A377-1EA311E2ADD3}" destId="{60B5B6BB-483E-47B7-9051-9E289ABD8D0C}" srcOrd="3" destOrd="0" parTransId="{BF11562E-2F47-4F74-9D3C-DE2DFF933D31}" sibTransId="{C848EA9A-AF77-4416-AEF5-1405A8EC41F8}"/>
    <dgm:cxn modelId="{47B3376F-B083-4BAF-90E9-49897399D810}" srcId="{72984D32-3A76-4C6D-A377-1EA311E2ADD3}" destId="{37A8266C-883D-40A8-9614-853C0D9CBB38}" srcOrd="1" destOrd="0" parTransId="{125CFA87-EE6E-4086-A7B4-F0AE9DB237D3}" sibTransId="{B5723635-65AE-490C-9B08-63713F0C5BFF}"/>
    <dgm:cxn modelId="{C14BDA52-033F-496F-B8B5-2F553FDEDA47}" type="presOf" srcId="{9F4DE40F-E551-42BB-9F6A-89C49946A1BE}" destId="{3D3C16C9-FA9D-43FA-874C-48E6E3AC7E63}" srcOrd="0" destOrd="0" presId="urn:microsoft.com/office/officeart/2005/8/layout/orgChart1"/>
    <dgm:cxn modelId="{2F9F5B56-B653-4965-BE2E-83DF112B29C0}" type="presOf" srcId="{A14312D0-E8D6-4858-B6A6-E17430A3CB0F}" destId="{0E8D2F5E-D241-491C-8B40-46B21964B1A5}" srcOrd="0" destOrd="0" presId="urn:microsoft.com/office/officeart/2005/8/layout/orgChart1"/>
    <dgm:cxn modelId="{F6006477-43F9-471C-9979-83E68AA92841}" srcId="{7CE83458-400B-401B-A4EF-E4509658C447}" destId="{3F9845D8-66D2-4988-B089-E8B86914096C}" srcOrd="0" destOrd="0" parTransId="{18970AFF-0AE3-4876-AAAF-E775333568B1}" sibTransId="{FCF5FDE2-E00C-4DA4-A967-DF86A1504AFB}"/>
    <dgm:cxn modelId="{AF92F886-070A-4183-A0F5-2F6B4F015A1C}" type="presOf" srcId="{7CE83458-400B-401B-A4EF-E4509658C447}" destId="{93BD860D-AB7C-4452-A976-1136F31CB0B8}" srcOrd="1" destOrd="0" presId="urn:microsoft.com/office/officeart/2005/8/layout/orgChart1"/>
    <dgm:cxn modelId="{5277CC89-7D2B-4903-9968-34F26C5B9221}" type="presOf" srcId="{E57F7994-4FB0-4237-A319-70FE0B124B79}" destId="{A644AC1D-DBF8-45AE-AB2E-7AB158E3E75F}" srcOrd="1" destOrd="0" presId="urn:microsoft.com/office/officeart/2005/8/layout/orgChart1"/>
    <dgm:cxn modelId="{24F3778C-06DD-47C8-9C9A-1FC19A222A62}" srcId="{72984D32-3A76-4C6D-A377-1EA311E2ADD3}" destId="{20D357E4-9EC9-4A65-AE65-CE741DDA28E1}" srcOrd="2" destOrd="0" parTransId="{9F4DE40F-E551-42BB-9F6A-89C49946A1BE}" sibTransId="{62A40364-968C-4128-ADAC-EBBD4588DD88}"/>
    <dgm:cxn modelId="{26726A8D-EFCE-4B88-8332-A50DCEC8C555}" type="presOf" srcId="{72984D32-3A76-4C6D-A377-1EA311E2ADD3}" destId="{4EBA1732-C9BA-4578-B803-C35CC4DBA47B}" srcOrd="1" destOrd="0" presId="urn:microsoft.com/office/officeart/2005/8/layout/orgChart1"/>
    <dgm:cxn modelId="{E5F83E8E-06FB-4227-8225-1119156AA04E}" srcId="{7CE83458-400B-401B-A4EF-E4509658C447}" destId="{309F15C0-7D71-4507-B2A7-402E97825FB3}" srcOrd="2" destOrd="0" parTransId="{E5D2C440-62F7-40D4-A55E-077E65CAD987}" sibTransId="{8F407F3A-2AB7-490D-9E1F-3F24AB1DE279}"/>
    <dgm:cxn modelId="{D008DD90-90A3-4235-8A85-18EDC195E5F7}" type="presOf" srcId="{992FBEEE-311A-45E2-8667-3FB8EB188CD6}" destId="{2458214D-1C83-4B33-85BD-CCE371F08F5A}" srcOrd="1" destOrd="0" presId="urn:microsoft.com/office/officeart/2005/8/layout/orgChart1"/>
    <dgm:cxn modelId="{13305A91-2476-41A5-A7FB-281BEBCB3B28}" type="presOf" srcId="{18970AFF-0AE3-4876-AAAF-E775333568B1}" destId="{41C89837-D7E4-4E44-B837-90FD79C5DDF0}" srcOrd="0" destOrd="0" presId="urn:microsoft.com/office/officeart/2005/8/layout/orgChart1"/>
    <dgm:cxn modelId="{DBB121B6-F385-4CEC-81D6-389BB41C2ADA}" type="presOf" srcId="{72984D32-3A76-4C6D-A377-1EA311E2ADD3}" destId="{59692B6D-3CAF-4896-8099-3725EC27B2BC}" srcOrd="0" destOrd="0" presId="urn:microsoft.com/office/officeart/2005/8/layout/orgChart1"/>
    <dgm:cxn modelId="{D4DCDAB6-3818-42EF-91C9-3D096EF02812}" type="presOf" srcId="{E5475163-B40A-432B-B1E9-9055F94F8A66}" destId="{FF7AEED9-E673-48F1-8D98-5C9D3AE0FBF5}" srcOrd="1" destOrd="0" presId="urn:microsoft.com/office/officeart/2005/8/layout/orgChart1"/>
    <dgm:cxn modelId="{FD7BD4B9-3933-41BB-B9DE-FC4FA88139B9}" type="presOf" srcId="{7CE83458-400B-401B-A4EF-E4509658C447}" destId="{BF7625D5-DFB5-476E-AD51-A5B7610BB21E}" srcOrd="0" destOrd="0" presId="urn:microsoft.com/office/officeart/2005/8/layout/orgChart1"/>
    <dgm:cxn modelId="{8FBB62BC-ADD9-4B6F-9222-CD1559449F97}" srcId="{72984D32-3A76-4C6D-A377-1EA311E2ADD3}" destId="{83C36FC8-7CAE-4711-A230-01B4EF4345DC}" srcOrd="0" destOrd="0" parTransId="{69A6DF8F-BE6C-4FA2-A086-27E9469A516D}" sibTransId="{AFBB99B8-FBD0-4857-AE2F-8F3938FFC661}"/>
    <dgm:cxn modelId="{BB8477C1-6A04-4D76-A790-E4B0EDFEB582}" type="presOf" srcId="{E5475163-B40A-432B-B1E9-9055F94F8A66}" destId="{07A0980B-3926-4D71-A4C3-262F6FAA7CC3}" srcOrd="0" destOrd="0" presId="urn:microsoft.com/office/officeart/2005/8/layout/orgChart1"/>
    <dgm:cxn modelId="{349959C1-BCDD-490E-BD25-E97715AE3A25}" type="presOf" srcId="{E57F7994-4FB0-4237-A319-70FE0B124B79}" destId="{01A4A94E-918D-4B7C-B4AD-F31F476EEB98}" srcOrd="0" destOrd="0" presId="urn:microsoft.com/office/officeart/2005/8/layout/orgChart1"/>
    <dgm:cxn modelId="{F84FFECB-B056-4D5F-9770-E2EFBBF8DBA4}" type="presOf" srcId="{48CA4028-3C81-43BE-92F6-71F21328B224}" destId="{DC0EAAF9-27EC-4FD7-AEA5-56D0F7EE0F30}" srcOrd="0" destOrd="0" presId="urn:microsoft.com/office/officeart/2005/8/layout/orgChart1"/>
    <dgm:cxn modelId="{EC208CCD-7395-4D8C-97D7-30ED36492A94}" type="presOf" srcId="{60B5B6BB-483E-47B7-9051-9E289ABD8D0C}" destId="{A3CB5FCA-E101-4273-93D9-E6B2BB0DE290}" srcOrd="0" destOrd="0" presId="urn:microsoft.com/office/officeart/2005/8/layout/orgChart1"/>
    <dgm:cxn modelId="{DFA456CE-FE72-4CF8-80CB-2A25056E1DE8}" type="presOf" srcId="{60B5B6BB-483E-47B7-9051-9E289ABD8D0C}" destId="{97C27ED5-D712-4CEF-B27C-A4BA5F054474}" srcOrd="1" destOrd="0" presId="urn:microsoft.com/office/officeart/2005/8/layout/orgChart1"/>
    <dgm:cxn modelId="{AB5781CF-1CE8-444B-9575-C46F43BF65FA}" type="presOf" srcId="{37A8266C-883D-40A8-9614-853C0D9CBB38}" destId="{A213E35F-B094-46C4-AD86-3FB9D0830FD2}" srcOrd="0" destOrd="0" presId="urn:microsoft.com/office/officeart/2005/8/layout/orgChart1"/>
    <dgm:cxn modelId="{34316FD1-2651-4E50-9425-E82C16D95847}" srcId="{7CE83458-400B-401B-A4EF-E4509658C447}" destId="{E5475163-B40A-432B-B1E9-9055F94F8A66}" srcOrd="3" destOrd="0" parTransId="{A14312D0-E8D6-4858-B6A6-E17430A3CB0F}" sibTransId="{B52BB58C-46A7-4EAB-9D58-3E897B03C312}"/>
    <dgm:cxn modelId="{C238A4D1-FF09-4AD2-B87A-E9774A7FC184}" type="presOf" srcId="{3F9845D8-66D2-4988-B089-E8B86914096C}" destId="{874F1D26-D257-4F7D-99C2-CD2029346DCE}" srcOrd="0" destOrd="0" presId="urn:microsoft.com/office/officeart/2005/8/layout/orgChart1"/>
    <dgm:cxn modelId="{11D6FBDE-5BD5-4803-8801-97B51DD35CC8}" type="presOf" srcId="{309F15C0-7D71-4507-B2A7-402E97825FB3}" destId="{4F9D59A8-D4BD-41DF-9CB6-284320760C00}" srcOrd="1" destOrd="0" presId="urn:microsoft.com/office/officeart/2005/8/layout/orgChart1"/>
    <dgm:cxn modelId="{FF0AB9F6-C996-4049-9B25-DFC16D71B7F2}" srcId="{992FBEEE-311A-45E2-8667-3FB8EB188CD6}" destId="{E57F7994-4FB0-4237-A319-70FE0B124B79}" srcOrd="0" destOrd="0" parTransId="{48CA4028-3C81-43BE-92F6-71F21328B224}" sibTransId="{CAC5412E-5424-4B18-9EAE-21636AFD782F}"/>
    <dgm:cxn modelId="{79501AFB-EFE1-4ECE-8260-972130E01B25}" type="presOf" srcId="{83C36FC8-7CAE-4711-A230-01B4EF4345DC}" destId="{293090C8-A669-4E31-BF3A-6042E2D70964}" srcOrd="0" destOrd="0" presId="urn:microsoft.com/office/officeart/2005/8/layout/orgChart1"/>
    <dgm:cxn modelId="{DA4C4521-E069-483E-AC47-298374DCCF45}" type="presParOf" srcId="{D439F89E-5549-48BD-B798-1084CCEC2C7F}" destId="{62DDB99C-17BB-4605-BDAC-52DC1650AED6}" srcOrd="0" destOrd="0" presId="urn:microsoft.com/office/officeart/2005/8/layout/orgChart1"/>
    <dgm:cxn modelId="{1DACEB02-B72A-406B-B835-E41C11ECE03C}" type="presParOf" srcId="{62DDB99C-17BB-4605-BDAC-52DC1650AED6}" destId="{1DD8DE33-AA8C-4F15-809C-D22E0CD125CB}" srcOrd="0" destOrd="0" presId="urn:microsoft.com/office/officeart/2005/8/layout/orgChart1"/>
    <dgm:cxn modelId="{8B53B67B-6E6E-4691-B015-F1339EA0B889}" type="presParOf" srcId="{1DD8DE33-AA8C-4F15-809C-D22E0CD125CB}" destId="{BF7625D5-DFB5-476E-AD51-A5B7610BB21E}" srcOrd="0" destOrd="0" presId="urn:microsoft.com/office/officeart/2005/8/layout/orgChart1"/>
    <dgm:cxn modelId="{D33FC8F7-0F29-4054-8543-31DA890C9CB7}" type="presParOf" srcId="{1DD8DE33-AA8C-4F15-809C-D22E0CD125CB}" destId="{93BD860D-AB7C-4452-A976-1136F31CB0B8}" srcOrd="1" destOrd="0" presId="urn:microsoft.com/office/officeart/2005/8/layout/orgChart1"/>
    <dgm:cxn modelId="{3F90D390-B669-42B8-80D4-9183948F82E9}" type="presParOf" srcId="{62DDB99C-17BB-4605-BDAC-52DC1650AED6}" destId="{3DA07283-77F8-4083-89B0-C45D77F450CB}" srcOrd="1" destOrd="0" presId="urn:microsoft.com/office/officeart/2005/8/layout/orgChart1"/>
    <dgm:cxn modelId="{171222E2-35F8-41F8-9551-22FC0A49B6B4}" type="presParOf" srcId="{3DA07283-77F8-4083-89B0-C45D77F450CB}" destId="{41C89837-D7E4-4E44-B837-90FD79C5DDF0}" srcOrd="0" destOrd="0" presId="urn:microsoft.com/office/officeart/2005/8/layout/orgChart1"/>
    <dgm:cxn modelId="{D69B0CE2-5A57-4355-B730-8C63E8BF8340}" type="presParOf" srcId="{3DA07283-77F8-4083-89B0-C45D77F450CB}" destId="{7A66BEA0-9420-4AC9-866C-FFF8C825371D}" srcOrd="1" destOrd="0" presId="urn:microsoft.com/office/officeart/2005/8/layout/orgChart1"/>
    <dgm:cxn modelId="{B9B876EA-0785-4C6A-8627-17A7C9ECE9F2}" type="presParOf" srcId="{7A66BEA0-9420-4AC9-866C-FFF8C825371D}" destId="{E29FF098-A7A4-4555-A351-2E3BEAFF67B5}" srcOrd="0" destOrd="0" presId="urn:microsoft.com/office/officeart/2005/8/layout/orgChart1"/>
    <dgm:cxn modelId="{5B286AD5-4662-4CA7-A450-B3E3EBD95F0F}" type="presParOf" srcId="{E29FF098-A7A4-4555-A351-2E3BEAFF67B5}" destId="{874F1D26-D257-4F7D-99C2-CD2029346DCE}" srcOrd="0" destOrd="0" presId="urn:microsoft.com/office/officeart/2005/8/layout/orgChart1"/>
    <dgm:cxn modelId="{020EF4FB-B126-4A91-B6D7-1C87AA271F12}" type="presParOf" srcId="{E29FF098-A7A4-4555-A351-2E3BEAFF67B5}" destId="{017E10E9-B8A3-470C-88C3-F839EEEF1DBC}" srcOrd="1" destOrd="0" presId="urn:microsoft.com/office/officeart/2005/8/layout/orgChart1"/>
    <dgm:cxn modelId="{B8BF3356-DD0C-4F8A-9875-3D601083EA9D}" type="presParOf" srcId="{7A66BEA0-9420-4AC9-866C-FFF8C825371D}" destId="{E8AE26B3-84E1-4AE3-B37C-6586F422B215}" srcOrd="1" destOrd="0" presId="urn:microsoft.com/office/officeart/2005/8/layout/orgChart1"/>
    <dgm:cxn modelId="{1B338D38-4737-4221-B2D1-2D19202C6800}" type="presParOf" srcId="{7A66BEA0-9420-4AC9-866C-FFF8C825371D}" destId="{1F95E224-56EB-4397-B93D-E3A4C04F3558}" srcOrd="2" destOrd="0" presId="urn:microsoft.com/office/officeart/2005/8/layout/orgChart1"/>
    <dgm:cxn modelId="{37D8A443-6D3F-481A-AFFB-3FAEB09BBA16}" type="presParOf" srcId="{3DA07283-77F8-4083-89B0-C45D77F450CB}" destId="{C557EA18-2002-4453-A5BF-FD40B9ED8316}" srcOrd="2" destOrd="0" presId="urn:microsoft.com/office/officeart/2005/8/layout/orgChart1"/>
    <dgm:cxn modelId="{DEAA1B7F-F959-4070-BAB7-55D01BED6DF5}" type="presParOf" srcId="{3DA07283-77F8-4083-89B0-C45D77F450CB}" destId="{3A91296D-A828-4DFB-9560-0103FAFB4568}" srcOrd="3" destOrd="0" presId="urn:microsoft.com/office/officeart/2005/8/layout/orgChart1"/>
    <dgm:cxn modelId="{4383E141-E111-4029-9963-0F29B55552FF}" type="presParOf" srcId="{3A91296D-A828-4DFB-9560-0103FAFB4568}" destId="{86AD12C9-1016-4D39-BA4D-F94475A9377B}" srcOrd="0" destOrd="0" presId="urn:microsoft.com/office/officeart/2005/8/layout/orgChart1"/>
    <dgm:cxn modelId="{3C38D8C5-8A3A-4221-9979-CBFF73C6F6C9}" type="presParOf" srcId="{86AD12C9-1016-4D39-BA4D-F94475A9377B}" destId="{13A83691-734B-409A-9293-D3526000BA41}" srcOrd="0" destOrd="0" presId="urn:microsoft.com/office/officeart/2005/8/layout/orgChart1"/>
    <dgm:cxn modelId="{D20610EE-A524-4C10-A86E-B8DE71A2D7D4}" type="presParOf" srcId="{86AD12C9-1016-4D39-BA4D-F94475A9377B}" destId="{2458214D-1C83-4B33-85BD-CCE371F08F5A}" srcOrd="1" destOrd="0" presId="urn:microsoft.com/office/officeart/2005/8/layout/orgChart1"/>
    <dgm:cxn modelId="{C7CB2BF6-4595-4AEB-89FE-351567905222}" type="presParOf" srcId="{3A91296D-A828-4DFB-9560-0103FAFB4568}" destId="{FB835E5D-5359-4FBB-B0E9-251D3C9F7FE0}" srcOrd="1" destOrd="0" presId="urn:microsoft.com/office/officeart/2005/8/layout/orgChart1"/>
    <dgm:cxn modelId="{E07D122D-4772-48B5-9058-B3726E950CBD}" type="presParOf" srcId="{FB835E5D-5359-4FBB-B0E9-251D3C9F7FE0}" destId="{DC0EAAF9-27EC-4FD7-AEA5-56D0F7EE0F30}" srcOrd="0" destOrd="0" presId="urn:microsoft.com/office/officeart/2005/8/layout/orgChart1"/>
    <dgm:cxn modelId="{08C80C95-B6F2-44BF-87DE-991642E60F69}" type="presParOf" srcId="{FB835E5D-5359-4FBB-B0E9-251D3C9F7FE0}" destId="{6204F10A-CA67-467B-AEF3-688E39F165E6}" srcOrd="1" destOrd="0" presId="urn:microsoft.com/office/officeart/2005/8/layout/orgChart1"/>
    <dgm:cxn modelId="{0DDC55FB-F8D4-489A-ACC8-9A855BE04B65}" type="presParOf" srcId="{6204F10A-CA67-467B-AEF3-688E39F165E6}" destId="{22C72D57-BD1A-47A5-9F52-1FD20CAC3B43}" srcOrd="0" destOrd="0" presId="urn:microsoft.com/office/officeart/2005/8/layout/orgChart1"/>
    <dgm:cxn modelId="{8F696D52-964D-4B24-99AD-660A66C4EACD}" type="presParOf" srcId="{22C72D57-BD1A-47A5-9F52-1FD20CAC3B43}" destId="{01A4A94E-918D-4B7C-B4AD-F31F476EEB98}" srcOrd="0" destOrd="0" presId="urn:microsoft.com/office/officeart/2005/8/layout/orgChart1"/>
    <dgm:cxn modelId="{481B5324-AF6E-4A46-A31F-EE33293DF822}" type="presParOf" srcId="{22C72D57-BD1A-47A5-9F52-1FD20CAC3B43}" destId="{A644AC1D-DBF8-45AE-AB2E-7AB158E3E75F}" srcOrd="1" destOrd="0" presId="urn:microsoft.com/office/officeart/2005/8/layout/orgChart1"/>
    <dgm:cxn modelId="{7745B978-2F69-4584-A2D8-C9A83365E7BC}" type="presParOf" srcId="{6204F10A-CA67-467B-AEF3-688E39F165E6}" destId="{3E341F43-F051-43BE-BB7E-F3D4BB9E6695}" srcOrd="1" destOrd="0" presId="urn:microsoft.com/office/officeart/2005/8/layout/orgChart1"/>
    <dgm:cxn modelId="{FC767424-CAEA-4F60-8F1D-C4F0ECD12704}" type="presParOf" srcId="{3E341F43-F051-43BE-BB7E-F3D4BB9E6695}" destId="{2BFC67E0-8DA6-4FBA-B29E-633CEF9B3A53}" srcOrd="0" destOrd="0" presId="urn:microsoft.com/office/officeart/2005/8/layout/orgChart1"/>
    <dgm:cxn modelId="{A340F58D-7289-480F-9898-12A794855498}" type="presParOf" srcId="{3E341F43-F051-43BE-BB7E-F3D4BB9E6695}" destId="{77CA01EA-58EC-4A88-AF96-A1BFB96B2B90}" srcOrd="1" destOrd="0" presId="urn:microsoft.com/office/officeart/2005/8/layout/orgChart1"/>
    <dgm:cxn modelId="{E488E54B-044F-451E-A4A2-8A335C7E0E45}" type="presParOf" srcId="{77CA01EA-58EC-4A88-AF96-A1BFB96B2B90}" destId="{8824D9C0-B685-4A34-B1D8-665C34E7018A}" srcOrd="0" destOrd="0" presId="urn:microsoft.com/office/officeart/2005/8/layout/orgChart1"/>
    <dgm:cxn modelId="{8BC34C7A-51BE-4B4C-B1D7-9718A5182240}" type="presParOf" srcId="{8824D9C0-B685-4A34-B1D8-665C34E7018A}" destId="{59692B6D-3CAF-4896-8099-3725EC27B2BC}" srcOrd="0" destOrd="0" presId="urn:microsoft.com/office/officeart/2005/8/layout/orgChart1"/>
    <dgm:cxn modelId="{776031DE-3218-4C58-B6D3-BD0A7D35EED7}" type="presParOf" srcId="{8824D9C0-B685-4A34-B1D8-665C34E7018A}" destId="{4EBA1732-C9BA-4578-B803-C35CC4DBA47B}" srcOrd="1" destOrd="0" presId="urn:microsoft.com/office/officeart/2005/8/layout/orgChart1"/>
    <dgm:cxn modelId="{3C5EF41D-DD06-416D-9E37-93EA3EF1A5F4}" type="presParOf" srcId="{77CA01EA-58EC-4A88-AF96-A1BFB96B2B90}" destId="{7DC8DC31-A7A8-4A5D-B07F-0005B73372BA}" srcOrd="1" destOrd="0" presId="urn:microsoft.com/office/officeart/2005/8/layout/orgChart1"/>
    <dgm:cxn modelId="{E1891D5A-701F-4332-9764-573AB2473A48}" type="presParOf" srcId="{7DC8DC31-A7A8-4A5D-B07F-0005B73372BA}" destId="{29DE81F3-BC36-4AAB-B6E8-1836051BCA54}" srcOrd="0" destOrd="0" presId="urn:microsoft.com/office/officeart/2005/8/layout/orgChart1"/>
    <dgm:cxn modelId="{DE48637B-1D01-4DC8-9F89-B4177D7D638C}" type="presParOf" srcId="{7DC8DC31-A7A8-4A5D-B07F-0005B73372BA}" destId="{F8092AA2-7E8D-4C10-8836-A64D479D8027}" srcOrd="1" destOrd="0" presId="urn:microsoft.com/office/officeart/2005/8/layout/orgChart1"/>
    <dgm:cxn modelId="{99641983-8BE1-4EAA-9ECD-07C568D5FEFA}" type="presParOf" srcId="{F8092AA2-7E8D-4C10-8836-A64D479D8027}" destId="{C48CEAAA-701C-4D44-BAE5-8C64EB2DE75D}" srcOrd="0" destOrd="0" presId="urn:microsoft.com/office/officeart/2005/8/layout/orgChart1"/>
    <dgm:cxn modelId="{5EAC7BE7-D9A4-41DD-A2D7-0B4DA31B3366}" type="presParOf" srcId="{C48CEAAA-701C-4D44-BAE5-8C64EB2DE75D}" destId="{293090C8-A669-4E31-BF3A-6042E2D70964}" srcOrd="0" destOrd="0" presId="urn:microsoft.com/office/officeart/2005/8/layout/orgChart1"/>
    <dgm:cxn modelId="{131E68B1-391C-4D29-A764-C5D4CC68A280}" type="presParOf" srcId="{C48CEAAA-701C-4D44-BAE5-8C64EB2DE75D}" destId="{0AC922CE-AA10-4170-B471-2746C84904BE}" srcOrd="1" destOrd="0" presId="urn:microsoft.com/office/officeart/2005/8/layout/orgChart1"/>
    <dgm:cxn modelId="{FF352FAF-3080-4B37-A014-700D482EF3F0}" type="presParOf" srcId="{F8092AA2-7E8D-4C10-8836-A64D479D8027}" destId="{A199B826-4A20-477C-B955-760654A77086}" srcOrd="1" destOrd="0" presId="urn:microsoft.com/office/officeart/2005/8/layout/orgChart1"/>
    <dgm:cxn modelId="{6534B54A-1699-43B4-88A5-380EAF586274}" type="presParOf" srcId="{F8092AA2-7E8D-4C10-8836-A64D479D8027}" destId="{7163C835-3B40-4413-9833-7F931785A889}" srcOrd="2" destOrd="0" presId="urn:microsoft.com/office/officeart/2005/8/layout/orgChart1"/>
    <dgm:cxn modelId="{E5623671-CE81-478D-9C54-4A53EF392325}" type="presParOf" srcId="{7DC8DC31-A7A8-4A5D-B07F-0005B73372BA}" destId="{17D64093-5259-47BF-9714-40EBE4CF25E9}" srcOrd="2" destOrd="0" presId="urn:microsoft.com/office/officeart/2005/8/layout/orgChart1"/>
    <dgm:cxn modelId="{707D61B6-324E-4CB9-BFEE-CBAA457F61D2}" type="presParOf" srcId="{7DC8DC31-A7A8-4A5D-B07F-0005B73372BA}" destId="{8F456B1A-C307-453D-9E06-BC46DDDF1B54}" srcOrd="3" destOrd="0" presId="urn:microsoft.com/office/officeart/2005/8/layout/orgChart1"/>
    <dgm:cxn modelId="{AFCCFD2E-3878-4ADF-9D77-7ADC556C376E}" type="presParOf" srcId="{8F456B1A-C307-453D-9E06-BC46DDDF1B54}" destId="{E7AAC5D4-502E-4A8C-B59D-522970B93D50}" srcOrd="0" destOrd="0" presId="urn:microsoft.com/office/officeart/2005/8/layout/orgChart1"/>
    <dgm:cxn modelId="{3963D641-CE3B-4914-BC1D-878ACB5D2880}" type="presParOf" srcId="{E7AAC5D4-502E-4A8C-B59D-522970B93D50}" destId="{A213E35F-B094-46C4-AD86-3FB9D0830FD2}" srcOrd="0" destOrd="0" presId="urn:microsoft.com/office/officeart/2005/8/layout/orgChart1"/>
    <dgm:cxn modelId="{2EA1D324-138D-44B5-981A-981258299103}" type="presParOf" srcId="{E7AAC5D4-502E-4A8C-B59D-522970B93D50}" destId="{1CD954A4-773D-4716-BAB1-73C9B34F5044}" srcOrd="1" destOrd="0" presId="urn:microsoft.com/office/officeart/2005/8/layout/orgChart1"/>
    <dgm:cxn modelId="{A85588ED-E932-4970-9340-87CB1C774B43}" type="presParOf" srcId="{8F456B1A-C307-453D-9E06-BC46DDDF1B54}" destId="{153B067D-F784-4FBD-B24A-C54DBBA1F0F8}" srcOrd="1" destOrd="0" presId="urn:microsoft.com/office/officeart/2005/8/layout/orgChart1"/>
    <dgm:cxn modelId="{ADABAD03-F8F0-487C-B883-AFE4F9702059}" type="presParOf" srcId="{8F456B1A-C307-453D-9E06-BC46DDDF1B54}" destId="{651948EB-F110-4CA9-8FFC-E35AFDAA48A3}" srcOrd="2" destOrd="0" presId="urn:microsoft.com/office/officeart/2005/8/layout/orgChart1"/>
    <dgm:cxn modelId="{A517582F-ED7E-4461-ACAF-F6F948B26E7D}" type="presParOf" srcId="{7DC8DC31-A7A8-4A5D-B07F-0005B73372BA}" destId="{3D3C16C9-FA9D-43FA-874C-48E6E3AC7E63}" srcOrd="4" destOrd="0" presId="urn:microsoft.com/office/officeart/2005/8/layout/orgChart1"/>
    <dgm:cxn modelId="{1F14AB4A-AA76-46C8-8382-446BA94BE496}" type="presParOf" srcId="{7DC8DC31-A7A8-4A5D-B07F-0005B73372BA}" destId="{20560646-51CB-4859-A99C-397F547B09BF}" srcOrd="5" destOrd="0" presId="urn:microsoft.com/office/officeart/2005/8/layout/orgChart1"/>
    <dgm:cxn modelId="{21D92FF8-487C-492F-A48B-7C2E1EDE375B}" type="presParOf" srcId="{20560646-51CB-4859-A99C-397F547B09BF}" destId="{579A88BF-8B04-497A-8EEE-823F3EE09765}" srcOrd="0" destOrd="0" presId="urn:microsoft.com/office/officeart/2005/8/layout/orgChart1"/>
    <dgm:cxn modelId="{E7507535-0FAB-4DAF-92EB-619782DEE36E}" type="presParOf" srcId="{579A88BF-8B04-497A-8EEE-823F3EE09765}" destId="{02E3E8CC-715B-4508-9F77-5D81908D8A39}" srcOrd="0" destOrd="0" presId="urn:microsoft.com/office/officeart/2005/8/layout/orgChart1"/>
    <dgm:cxn modelId="{1363C8F5-C607-401D-A69C-F43EB7315FED}" type="presParOf" srcId="{579A88BF-8B04-497A-8EEE-823F3EE09765}" destId="{12D6BB77-D6D1-4B71-B2C5-54836B469A6A}" srcOrd="1" destOrd="0" presId="urn:microsoft.com/office/officeart/2005/8/layout/orgChart1"/>
    <dgm:cxn modelId="{7D292BE5-E016-4EC2-B143-2943F6183F20}" type="presParOf" srcId="{20560646-51CB-4859-A99C-397F547B09BF}" destId="{6CD51FE8-272A-4CA4-A747-741A80EB3A27}" srcOrd="1" destOrd="0" presId="urn:microsoft.com/office/officeart/2005/8/layout/orgChart1"/>
    <dgm:cxn modelId="{D08ACB99-A220-45C8-B02E-8F330A755FE6}" type="presParOf" srcId="{20560646-51CB-4859-A99C-397F547B09BF}" destId="{8021E6A2-766F-485D-906C-95E4738503F5}" srcOrd="2" destOrd="0" presId="urn:microsoft.com/office/officeart/2005/8/layout/orgChart1"/>
    <dgm:cxn modelId="{E57DAF59-4E0B-4C70-9661-325CD07F87A8}" type="presParOf" srcId="{7DC8DC31-A7A8-4A5D-B07F-0005B73372BA}" destId="{966E31BE-2E0C-4780-8BC4-F0411B9C5795}" srcOrd="6" destOrd="0" presId="urn:microsoft.com/office/officeart/2005/8/layout/orgChart1"/>
    <dgm:cxn modelId="{80B42C95-286C-44A9-8C86-5DB57FE303DE}" type="presParOf" srcId="{7DC8DC31-A7A8-4A5D-B07F-0005B73372BA}" destId="{35314BEC-EC01-47B6-8F83-084D154CBB4E}" srcOrd="7" destOrd="0" presId="urn:microsoft.com/office/officeart/2005/8/layout/orgChart1"/>
    <dgm:cxn modelId="{A764A894-F06D-49AE-96C9-14474453DD85}" type="presParOf" srcId="{35314BEC-EC01-47B6-8F83-084D154CBB4E}" destId="{C281F08A-3C40-4B0B-84B2-E6CB68FB76FC}" srcOrd="0" destOrd="0" presId="urn:microsoft.com/office/officeart/2005/8/layout/orgChart1"/>
    <dgm:cxn modelId="{9FABA8A3-EC83-4ECD-86FB-9FA9DB1A1DFD}" type="presParOf" srcId="{C281F08A-3C40-4B0B-84B2-E6CB68FB76FC}" destId="{A3CB5FCA-E101-4273-93D9-E6B2BB0DE290}" srcOrd="0" destOrd="0" presId="urn:microsoft.com/office/officeart/2005/8/layout/orgChart1"/>
    <dgm:cxn modelId="{5FF72045-4A68-4C16-811A-878457B3228C}" type="presParOf" srcId="{C281F08A-3C40-4B0B-84B2-E6CB68FB76FC}" destId="{97C27ED5-D712-4CEF-B27C-A4BA5F054474}" srcOrd="1" destOrd="0" presId="urn:microsoft.com/office/officeart/2005/8/layout/orgChart1"/>
    <dgm:cxn modelId="{2281CF32-FC2F-46C9-8BBA-2BF13BE7DA75}" type="presParOf" srcId="{35314BEC-EC01-47B6-8F83-084D154CBB4E}" destId="{92EEEDAD-A02D-40BB-85BA-C9009F1A9411}" srcOrd="1" destOrd="0" presId="urn:microsoft.com/office/officeart/2005/8/layout/orgChart1"/>
    <dgm:cxn modelId="{992935D4-A656-4116-9A15-4E82A1158423}" type="presParOf" srcId="{35314BEC-EC01-47B6-8F83-084D154CBB4E}" destId="{0C344B60-8504-4DF3-9A09-27B0704AAF47}" srcOrd="2" destOrd="0" presId="urn:microsoft.com/office/officeart/2005/8/layout/orgChart1"/>
    <dgm:cxn modelId="{5857726F-A67C-43AD-A0DC-0EE73F778C5E}" type="presParOf" srcId="{77CA01EA-58EC-4A88-AF96-A1BFB96B2B90}" destId="{9065EEAD-CD70-446A-A53B-21EE6ABA2A04}" srcOrd="2" destOrd="0" presId="urn:microsoft.com/office/officeart/2005/8/layout/orgChart1"/>
    <dgm:cxn modelId="{95330BC3-6B58-4EB9-AEB7-AA3CC126161B}" type="presParOf" srcId="{6204F10A-CA67-467B-AEF3-688E39F165E6}" destId="{5C24673D-9F31-4750-B9A7-6CECD5299D20}" srcOrd="2" destOrd="0" presId="urn:microsoft.com/office/officeart/2005/8/layout/orgChart1"/>
    <dgm:cxn modelId="{54DE6901-6271-45E8-96BF-41DF58CE3B5B}" type="presParOf" srcId="{3A91296D-A828-4DFB-9560-0103FAFB4568}" destId="{B322D306-46D3-4938-B0AC-72B94A4ACABA}" srcOrd="2" destOrd="0" presId="urn:microsoft.com/office/officeart/2005/8/layout/orgChart1"/>
    <dgm:cxn modelId="{B0963CB3-19A9-47EA-9007-A5BD24D2E63C}" type="presParOf" srcId="{3DA07283-77F8-4083-89B0-C45D77F450CB}" destId="{A000CE27-C8BA-4AA7-B3FA-613CE32761AC}" srcOrd="4" destOrd="0" presId="urn:microsoft.com/office/officeart/2005/8/layout/orgChart1"/>
    <dgm:cxn modelId="{90529914-C0F5-4F06-8129-8A1BA566C30B}" type="presParOf" srcId="{3DA07283-77F8-4083-89B0-C45D77F450CB}" destId="{8FC4D53D-7EDF-4376-BB0E-7BD8AE49EBCD}" srcOrd="5" destOrd="0" presId="urn:microsoft.com/office/officeart/2005/8/layout/orgChart1"/>
    <dgm:cxn modelId="{39BE8632-1F1F-4D0E-A4F7-98C736C3F6B0}" type="presParOf" srcId="{8FC4D53D-7EDF-4376-BB0E-7BD8AE49EBCD}" destId="{7FE22F66-8037-4FFE-AD4B-D93D63B3B880}" srcOrd="0" destOrd="0" presId="urn:microsoft.com/office/officeart/2005/8/layout/orgChart1"/>
    <dgm:cxn modelId="{B81971CC-8099-4E67-A3EE-46365DE4D6D4}" type="presParOf" srcId="{7FE22F66-8037-4FFE-AD4B-D93D63B3B880}" destId="{68E47E13-221D-45D8-8836-0E233EAD04AF}" srcOrd="0" destOrd="0" presId="urn:microsoft.com/office/officeart/2005/8/layout/orgChart1"/>
    <dgm:cxn modelId="{ED3891F4-59A0-4B50-B279-2C3DAFDA0620}" type="presParOf" srcId="{7FE22F66-8037-4FFE-AD4B-D93D63B3B880}" destId="{4F9D59A8-D4BD-41DF-9CB6-284320760C00}" srcOrd="1" destOrd="0" presId="urn:microsoft.com/office/officeart/2005/8/layout/orgChart1"/>
    <dgm:cxn modelId="{FA15D934-5A87-4C21-9D59-A22D25A8C86F}" type="presParOf" srcId="{8FC4D53D-7EDF-4376-BB0E-7BD8AE49EBCD}" destId="{E74C80A4-BCB5-4FC7-BAF7-ADB5B5AD062A}" srcOrd="1" destOrd="0" presId="urn:microsoft.com/office/officeart/2005/8/layout/orgChart1"/>
    <dgm:cxn modelId="{A2185F04-744E-41FF-B0E9-918E46EF3255}" type="presParOf" srcId="{8FC4D53D-7EDF-4376-BB0E-7BD8AE49EBCD}" destId="{0B13A696-3C83-4A6B-8E48-161BFF7F639A}" srcOrd="2" destOrd="0" presId="urn:microsoft.com/office/officeart/2005/8/layout/orgChart1"/>
    <dgm:cxn modelId="{9D844DB7-197E-43EA-AA02-DA8BC72537E4}" type="presParOf" srcId="{3DA07283-77F8-4083-89B0-C45D77F450CB}" destId="{0E8D2F5E-D241-491C-8B40-46B21964B1A5}" srcOrd="6" destOrd="0" presId="urn:microsoft.com/office/officeart/2005/8/layout/orgChart1"/>
    <dgm:cxn modelId="{11B0BBC7-C5B6-452F-A114-BEDEB45825D9}" type="presParOf" srcId="{3DA07283-77F8-4083-89B0-C45D77F450CB}" destId="{D274F69F-690C-4A97-A8B8-49CA20A9475C}" srcOrd="7" destOrd="0" presId="urn:microsoft.com/office/officeart/2005/8/layout/orgChart1"/>
    <dgm:cxn modelId="{05C70F6F-D562-4D88-B4E5-93DE80DC6C61}" type="presParOf" srcId="{D274F69F-690C-4A97-A8B8-49CA20A9475C}" destId="{42654F3F-C7C4-412E-A728-40220CA5DC37}" srcOrd="0" destOrd="0" presId="urn:microsoft.com/office/officeart/2005/8/layout/orgChart1"/>
    <dgm:cxn modelId="{3929FB56-EC5C-4A4E-90D9-952BFFD5196F}" type="presParOf" srcId="{42654F3F-C7C4-412E-A728-40220CA5DC37}" destId="{07A0980B-3926-4D71-A4C3-262F6FAA7CC3}" srcOrd="0" destOrd="0" presId="urn:microsoft.com/office/officeart/2005/8/layout/orgChart1"/>
    <dgm:cxn modelId="{8975D8B1-85F1-41E7-9302-B394AC56F92B}" type="presParOf" srcId="{42654F3F-C7C4-412E-A728-40220CA5DC37}" destId="{FF7AEED9-E673-48F1-8D98-5C9D3AE0FBF5}" srcOrd="1" destOrd="0" presId="urn:microsoft.com/office/officeart/2005/8/layout/orgChart1"/>
    <dgm:cxn modelId="{9D7BBB71-DEAF-48ED-BF48-BA2865339120}" type="presParOf" srcId="{D274F69F-690C-4A97-A8B8-49CA20A9475C}" destId="{8D7DC520-FD15-484C-A08A-D3D0AAD43C99}" srcOrd="1" destOrd="0" presId="urn:microsoft.com/office/officeart/2005/8/layout/orgChart1"/>
    <dgm:cxn modelId="{1C0EA51F-F38B-4F56-9EAE-549C64929335}" type="presParOf" srcId="{D274F69F-690C-4A97-A8B8-49CA20A9475C}" destId="{6AE7A5E6-383E-4646-B029-CCC1F08D54D2}" srcOrd="2" destOrd="0" presId="urn:microsoft.com/office/officeart/2005/8/layout/orgChart1"/>
    <dgm:cxn modelId="{70186E51-0C2B-42B2-BB44-F3967007B4D7}" type="presParOf" srcId="{62DDB99C-17BB-4605-BDAC-52DC1650AED6}" destId="{F7D490F0-5A59-40FD-BD2B-D3BA2D746886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E8D2F5E-D241-491C-8B40-46B21964B1A5}">
      <dsp:nvSpPr>
        <dsp:cNvPr id="0" name=""/>
        <dsp:cNvSpPr/>
      </dsp:nvSpPr>
      <dsp:spPr>
        <a:xfrm>
          <a:off x="2293335" y="780447"/>
          <a:ext cx="1417260" cy="14319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1595"/>
              </a:lnTo>
              <a:lnTo>
                <a:pt x="1417260" y="71595"/>
              </a:lnTo>
              <a:lnTo>
                <a:pt x="1417260" y="143191"/>
              </a:lnTo>
            </a:path>
          </a:pathLst>
        </a:custGeom>
        <a:noFill/>
        <a:ln w="12700" cap="sq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000CE27-C8BA-4AA7-B3FA-613CE32761AC}">
      <dsp:nvSpPr>
        <dsp:cNvPr id="0" name=""/>
        <dsp:cNvSpPr/>
      </dsp:nvSpPr>
      <dsp:spPr>
        <a:xfrm>
          <a:off x="2293335" y="780447"/>
          <a:ext cx="472420" cy="14319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1595"/>
              </a:lnTo>
              <a:lnTo>
                <a:pt x="472420" y="71595"/>
              </a:lnTo>
              <a:lnTo>
                <a:pt x="472420" y="143191"/>
              </a:lnTo>
            </a:path>
          </a:pathLst>
        </a:custGeom>
        <a:noFill/>
        <a:ln w="12700" cap="sq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66E31BE-2E0C-4780-8BC4-F0411B9C5795}">
      <dsp:nvSpPr>
        <dsp:cNvPr id="0" name=""/>
        <dsp:cNvSpPr/>
      </dsp:nvSpPr>
      <dsp:spPr>
        <a:xfrm>
          <a:off x="1820915" y="2232820"/>
          <a:ext cx="1417260" cy="14319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1595"/>
              </a:lnTo>
              <a:lnTo>
                <a:pt x="1417260" y="71595"/>
              </a:lnTo>
              <a:lnTo>
                <a:pt x="1417260" y="143191"/>
              </a:lnTo>
            </a:path>
          </a:pathLst>
        </a:custGeom>
        <a:noFill/>
        <a:ln w="12700" cap="sq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3C16C9-FA9D-43FA-874C-48E6E3AC7E63}">
      <dsp:nvSpPr>
        <dsp:cNvPr id="0" name=""/>
        <dsp:cNvSpPr/>
      </dsp:nvSpPr>
      <dsp:spPr>
        <a:xfrm>
          <a:off x="1820915" y="2232820"/>
          <a:ext cx="472969" cy="14319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1595"/>
              </a:lnTo>
              <a:lnTo>
                <a:pt x="472969" y="71595"/>
              </a:lnTo>
              <a:lnTo>
                <a:pt x="472969" y="143191"/>
              </a:lnTo>
            </a:path>
          </a:pathLst>
        </a:custGeom>
        <a:noFill/>
        <a:ln w="12700" cap="sq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7D64093-5259-47BF-9714-40EBE4CF25E9}">
      <dsp:nvSpPr>
        <dsp:cNvPr id="0" name=""/>
        <dsp:cNvSpPr/>
      </dsp:nvSpPr>
      <dsp:spPr>
        <a:xfrm>
          <a:off x="1349044" y="2232820"/>
          <a:ext cx="471871" cy="143191"/>
        </a:xfrm>
        <a:custGeom>
          <a:avLst/>
          <a:gdLst/>
          <a:ahLst/>
          <a:cxnLst/>
          <a:rect l="0" t="0" r="0" b="0"/>
          <a:pathLst>
            <a:path>
              <a:moveTo>
                <a:pt x="471871" y="0"/>
              </a:moveTo>
              <a:lnTo>
                <a:pt x="471871" y="71595"/>
              </a:lnTo>
              <a:lnTo>
                <a:pt x="0" y="71595"/>
              </a:lnTo>
              <a:lnTo>
                <a:pt x="0" y="143191"/>
              </a:lnTo>
            </a:path>
          </a:pathLst>
        </a:custGeom>
        <a:noFill/>
        <a:ln w="12700" cap="sq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9DE81F3-BC36-4AAB-B6E8-1836051BCA54}">
      <dsp:nvSpPr>
        <dsp:cNvPr id="0" name=""/>
        <dsp:cNvSpPr/>
      </dsp:nvSpPr>
      <dsp:spPr>
        <a:xfrm>
          <a:off x="404203" y="2232820"/>
          <a:ext cx="1416711" cy="143191"/>
        </a:xfrm>
        <a:custGeom>
          <a:avLst/>
          <a:gdLst/>
          <a:ahLst/>
          <a:cxnLst/>
          <a:rect l="0" t="0" r="0" b="0"/>
          <a:pathLst>
            <a:path>
              <a:moveTo>
                <a:pt x="1416711" y="0"/>
              </a:moveTo>
              <a:lnTo>
                <a:pt x="1416711" y="71595"/>
              </a:lnTo>
              <a:lnTo>
                <a:pt x="0" y="71595"/>
              </a:lnTo>
              <a:lnTo>
                <a:pt x="0" y="143191"/>
              </a:lnTo>
            </a:path>
          </a:pathLst>
        </a:custGeom>
        <a:noFill/>
        <a:ln w="12700" cap="sq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BFC67E0-8DA6-4FBA-B29E-633CEF9B3A53}">
      <dsp:nvSpPr>
        <dsp:cNvPr id="0" name=""/>
        <dsp:cNvSpPr/>
      </dsp:nvSpPr>
      <dsp:spPr>
        <a:xfrm>
          <a:off x="1775195" y="1748695"/>
          <a:ext cx="91440" cy="14319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43191"/>
              </a:lnTo>
            </a:path>
          </a:pathLst>
        </a:custGeom>
        <a:noFill/>
        <a:ln w="12700" cap="sq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C0EAAF9-27EC-4FD7-AEA5-56D0F7EE0F30}">
      <dsp:nvSpPr>
        <dsp:cNvPr id="0" name=""/>
        <dsp:cNvSpPr/>
      </dsp:nvSpPr>
      <dsp:spPr>
        <a:xfrm>
          <a:off x="1775195" y="1264571"/>
          <a:ext cx="91440" cy="14319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43191"/>
              </a:lnTo>
            </a:path>
          </a:pathLst>
        </a:custGeom>
        <a:noFill/>
        <a:ln w="12700" cap="sq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557EA18-2002-4453-A5BF-FD40B9ED8316}">
      <dsp:nvSpPr>
        <dsp:cNvPr id="0" name=""/>
        <dsp:cNvSpPr/>
      </dsp:nvSpPr>
      <dsp:spPr>
        <a:xfrm>
          <a:off x="1820915" y="780447"/>
          <a:ext cx="472420" cy="143191"/>
        </a:xfrm>
        <a:custGeom>
          <a:avLst/>
          <a:gdLst/>
          <a:ahLst/>
          <a:cxnLst/>
          <a:rect l="0" t="0" r="0" b="0"/>
          <a:pathLst>
            <a:path>
              <a:moveTo>
                <a:pt x="472420" y="0"/>
              </a:moveTo>
              <a:lnTo>
                <a:pt x="472420" y="71595"/>
              </a:lnTo>
              <a:lnTo>
                <a:pt x="0" y="71595"/>
              </a:lnTo>
              <a:lnTo>
                <a:pt x="0" y="143191"/>
              </a:lnTo>
            </a:path>
          </a:pathLst>
        </a:custGeom>
        <a:noFill/>
        <a:ln w="12700" cap="sq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1C89837-D7E4-4E44-B837-90FD79C5DDF0}">
      <dsp:nvSpPr>
        <dsp:cNvPr id="0" name=""/>
        <dsp:cNvSpPr/>
      </dsp:nvSpPr>
      <dsp:spPr>
        <a:xfrm>
          <a:off x="876075" y="780447"/>
          <a:ext cx="1417260" cy="143191"/>
        </a:xfrm>
        <a:custGeom>
          <a:avLst/>
          <a:gdLst/>
          <a:ahLst/>
          <a:cxnLst/>
          <a:rect l="0" t="0" r="0" b="0"/>
          <a:pathLst>
            <a:path>
              <a:moveTo>
                <a:pt x="1417260" y="0"/>
              </a:moveTo>
              <a:lnTo>
                <a:pt x="1417260" y="71595"/>
              </a:lnTo>
              <a:lnTo>
                <a:pt x="0" y="71595"/>
              </a:lnTo>
              <a:lnTo>
                <a:pt x="0" y="143191"/>
              </a:lnTo>
            </a:path>
          </a:pathLst>
        </a:custGeom>
        <a:noFill/>
        <a:ln w="12700" cap="sq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F7625D5-DFB5-476E-AD51-A5B7610BB21E}">
      <dsp:nvSpPr>
        <dsp:cNvPr id="0" name=""/>
        <dsp:cNvSpPr/>
      </dsp:nvSpPr>
      <dsp:spPr>
        <a:xfrm>
          <a:off x="1892511" y="439514"/>
          <a:ext cx="801648" cy="340932"/>
        </a:xfrm>
        <a:prstGeom prst="rect">
          <a:avLst/>
        </a:prstGeom>
        <a:solidFill>
          <a:schemeClr val="tx2"/>
        </a:solidFill>
        <a:ln w="12700" cap="sq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L3Harris</a:t>
          </a:r>
        </a:p>
      </dsp:txBody>
      <dsp:txXfrm>
        <a:off x="1892511" y="439514"/>
        <a:ext cx="801648" cy="340932"/>
      </dsp:txXfrm>
    </dsp:sp>
    <dsp:sp modelId="{874F1D26-D257-4F7D-99C2-CD2029346DCE}">
      <dsp:nvSpPr>
        <dsp:cNvPr id="0" name=""/>
        <dsp:cNvSpPr/>
      </dsp:nvSpPr>
      <dsp:spPr>
        <a:xfrm>
          <a:off x="475250" y="923638"/>
          <a:ext cx="801648" cy="340932"/>
        </a:xfrm>
        <a:prstGeom prst="rect">
          <a:avLst/>
        </a:prstGeom>
        <a:solidFill>
          <a:schemeClr val="accent5"/>
        </a:solidFill>
        <a:ln w="12700" cap="sq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Integrated Mission Systems</a:t>
          </a:r>
        </a:p>
      </dsp:txBody>
      <dsp:txXfrm>
        <a:off x="475250" y="923638"/>
        <a:ext cx="801648" cy="340932"/>
      </dsp:txXfrm>
    </dsp:sp>
    <dsp:sp modelId="{13A83691-734B-409A-9293-D3526000BA41}">
      <dsp:nvSpPr>
        <dsp:cNvPr id="0" name=""/>
        <dsp:cNvSpPr/>
      </dsp:nvSpPr>
      <dsp:spPr>
        <a:xfrm>
          <a:off x="1420091" y="923638"/>
          <a:ext cx="801648" cy="34093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sq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Space &amp; Airborne Systems</a:t>
          </a:r>
        </a:p>
      </dsp:txBody>
      <dsp:txXfrm>
        <a:off x="1420091" y="923638"/>
        <a:ext cx="801648" cy="340932"/>
      </dsp:txXfrm>
    </dsp:sp>
    <dsp:sp modelId="{01A4A94E-918D-4B7C-B4AD-F31F476EEB98}">
      <dsp:nvSpPr>
        <dsp:cNvPr id="0" name=""/>
        <dsp:cNvSpPr/>
      </dsp:nvSpPr>
      <dsp:spPr>
        <a:xfrm>
          <a:off x="1420091" y="1407763"/>
          <a:ext cx="801648" cy="34093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sq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Electrical Engineering</a:t>
          </a:r>
        </a:p>
      </dsp:txBody>
      <dsp:txXfrm>
        <a:off x="1420091" y="1407763"/>
        <a:ext cx="801648" cy="340932"/>
      </dsp:txXfrm>
    </dsp:sp>
    <dsp:sp modelId="{59692B6D-3CAF-4896-8099-3725EC27B2BC}">
      <dsp:nvSpPr>
        <dsp:cNvPr id="0" name=""/>
        <dsp:cNvSpPr/>
      </dsp:nvSpPr>
      <dsp:spPr>
        <a:xfrm>
          <a:off x="1420091" y="1891887"/>
          <a:ext cx="801648" cy="34093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sq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FPGA</a:t>
          </a:r>
          <a:br>
            <a:rPr lang="en-US" sz="700" kern="1200" dirty="0"/>
          </a:br>
          <a:r>
            <a:rPr lang="en-US" sz="700" kern="1200" dirty="0"/>
            <a:t>Directorate</a:t>
          </a:r>
        </a:p>
      </dsp:txBody>
      <dsp:txXfrm>
        <a:off x="1420091" y="1891887"/>
        <a:ext cx="801648" cy="340932"/>
      </dsp:txXfrm>
    </dsp:sp>
    <dsp:sp modelId="{293090C8-A669-4E31-BF3A-6042E2D70964}">
      <dsp:nvSpPr>
        <dsp:cNvPr id="0" name=""/>
        <dsp:cNvSpPr/>
      </dsp:nvSpPr>
      <dsp:spPr>
        <a:xfrm>
          <a:off x="3379" y="2376011"/>
          <a:ext cx="801648" cy="340932"/>
        </a:xfrm>
        <a:prstGeom prst="rect">
          <a:avLst/>
        </a:prstGeom>
        <a:solidFill>
          <a:schemeClr val="accent3"/>
        </a:solidFill>
        <a:ln w="12700" cap="sq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FPGA Processing</a:t>
          </a:r>
        </a:p>
      </dsp:txBody>
      <dsp:txXfrm>
        <a:off x="3379" y="2376011"/>
        <a:ext cx="801648" cy="340932"/>
      </dsp:txXfrm>
    </dsp:sp>
    <dsp:sp modelId="{A213E35F-B094-46C4-AD86-3FB9D0830FD2}">
      <dsp:nvSpPr>
        <dsp:cNvPr id="0" name=""/>
        <dsp:cNvSpPr/>
      </dsp:nvSpPr>
      <dsp:spPr>
        <a:xfrm>
          <a:off x="948219" y="2376011"/>
          <a:ext cx="801648" cy="340932"/>
        </a:xfrm>
        <a:prstGeom prst="rect">
          <a:avLst/>
        </a:prstGeom>
        <a:solidFill>
          <a:schemeClr val="accent3"/>
        </a:solidFill>
        <a:ln w="12700" cap="sq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FPGA Signals</a:t>
          </a:r>
        </a:p>
      </dsp:txBody>
      <dsp:txXfrm>
        <a:off x="948219" y="2376011"/>
        <a:ext cx="801648" cy="340932"/>
      </dsp:txXfrm>
    </dsp:sp>
    <dsp:sp modelId="{02E3E8CC-715B-4508-9F77-5D81908D8A39}">
      <dsp:nvSpPr>
        <dsp:cNvPr id="0" name=""/>
        <dsp:cNvSpPr/>
      </dsp:nvSpPr>
      <dsp:spPr>
        <a:xfrm>
          <a:off x="1893060" y="2376011"/>
          <a:ext cx="801648" cy="340932"/>
        </a:xfrm>
        <a:prstGeom prst="rect">
          <a:avLst/>
        </a:prstGeom>
        <a:solidFill>
          <a:schemeClr val="accent3"/>
        </a:solidFill>
        <a:ln w="12700" cap="sq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FPGA Spectrum</a:t>
          </a:r>
        </a:p>
      </dsp:txBody>
      <dsp:txXfrm>
        <a:off x="1893060" y="2376011"/>
        <a:ext cx="801648" cy="340932"/>
      </dsp:txXfrm>
    </dsp:sp>
    <dsp:sp modelId="{A3CB5FCA-E101-4273-93D9-E6B2BB0DE290}">
      <dsp:nvSpPr>
        <dsp:cNvPr id="0" name=""/>
        <dsp:cNvSpPr/>
      </dsp:nvSpPr>
      <dsp:spPr>
        <a:xfrm>
          <a:off x="2837900" y="2376011"/>
          <a:ext cx="800550" cy="340932"/>
        </a:xfrm>
        <a:prstGeom prst="rect">
          <a:avLst/>
        </a:prstGeom>
        <a:solidFill>
          <a:schemeClr val="accent3"/>
        </a:solidFill>
        <a:ln w="12700" cap="sq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FPGA Resilience</a:t>
          </a:r>
        </a:p>
      </dsp:txBody>
      <dsp:txXfrm>
        <a:off x="2837900" y="2376011"/>
        <a:ext cx="800550" cy="340932"/>
      </dsp:txXfrm>
    </dsp:sp>
    <dsp:sp modelId="{68E47E13-221D-45D8-8836-0E233EAD04AF}">
      <dsp:nvSpPr>
        <dsp:cNvPr id="0" name=""/>
        <dsp:cNvSpPr/>
      </dsp:nvSpPr>
      <dsp:spPr>
        <a:xfrm>
          <a:off x="2364931" y="923638"/>
          <a:ext cx="801648" cy="340932"/>
        </a:xfrm>
        <a:prstGeom prst="rect">
          <a:avLst/>
        </a:prstGeom>
        <a:solidFill>
          <a:schemeClr val="accent5"/>
        </a:solidFill>
        <a:ln w="12700" cap="sq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Communication Systems</a:t>
          </a:r>
        </a:p>
      </dsp:txBody>
      <dsp:txXfrm>
        <a:off x="2364931" y="923638"/>
        <a:ext cx="801648" cy="340932"/>
      </dsp:txXfrm>
    </dsp:sp>
    <dsp:sp modelId="{07A0980B-3926-4D71-A4C3-262F6FAA7CC3}">
      <dsp:nvSpPr>
        <dsp:cNvPr id="0" name=""/>
        <dsp:cNvSpPr/>
      </dsp:nvSpPr>
      <dsp:spPr>
        <a:xfrm>
          <a:off x="3309771" y="923638"/>
          <a:ext cx="801648" cy="340932"/>
        </a:xfrm>
        <a:prstGeom prst="rect">
          <a:avLst/>
        </a:prstGeom>
        <a:solidFill>
          <a:schemeClr val="accent5"/>
        </a:solidFill>
        <a:ln w="12700" cap="sq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Aviation Systems</a:t>
          </a:r>
        </a:p>
      </dsp:txBody>
      <dsp:txXfrm>
        <a:off x="3309771" y="923638"/>
        <a:ext cx="801648" cy="34093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9CDB47D-8CCE-0349-960C-2E5541681FD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40D9996-CA2E-DD41-9438-070CF141BF3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84ED06A4-8F7B-974B-B734-1ED967E82B37}" type="datetimeFigureOut">
              <a:rPr lang="en-US" smtClean="0"/>
              <a:t>1/21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C148946-3C43-CE4A-AB16-5A87BDD672F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83EDB7-B7F9-144D-AC2B-EEAD2893B05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59D64864-0E8C-3347-AF7C-F8EB0B32242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935615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209E9AA5-4EBA-7C43-A74A-42DA5466B4F2}" type="datetimeFigureOut">
              <a:rPr lang="en-US" smtClean="0"/>
              <a:t>1/21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4463" y="1162050"/>
            <a:ext cx="4181475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78C4566B-DD89-4947-8F18-46DAFD0592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83125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628650" indent="-171450" algn="l" defTabSz="914400" rtl="0" eaLnBrk="1" latinLnBrk="0" hangingPunct="1">
      <a:buFont typeface="Arial" panose="020B0604020202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1085850" indent="-171450" algn="l" defTabSz="914400" rtl="0" eaLnBrk="1" latinLnBrk="0" hangingPunct="1">
      <a:buFont typeface="Arial" panose="020B0604020202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543050" indent="-171450" algn="l" defTabSz="914400" rtl="0" eaLnBrk="1" latinLnBrk="0" hangingPunct="1">
      <a:buFont typeface="Arial" panose="020B0604020202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2000250" indent="-171450" algn="l" defTabSz="914400" rtl="0" eaLnBrk="1" latinLnBrk="0" hangingPunct="1">
      <a:buFont typeface="Arial" panose="020B0604020202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457450" indent="-171450" algn="l" defTabSz="914400" rtl="0" eaLnBrk="1" latinLnBrk="0" hangingPunct="1">
      <a:buFont typeface="Arial" panose="020B0604020202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914650" indent="-171450" algn="l" defTabSz="914400" rtl="0" eaLnBrk="1" latinLnBrk="0" hangingPunct="1">
      <a:buFont typeface="Arial" panose="020B0604020202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371850" indent="-171450" algn="l" defTabSz="914400" rtl="0" eaLnBrk="1" latinLnBrk="0" hangingPunct="1">
      <a:buFont typeface="Arial" panose="020B0604020202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829050" indent="-171450" algn="l" defTabSz="914400" rtl="0" eaLnBrk="1" latinLnBrk="0" hangingPunct="1">
      <a:buFont typeface="Arial" panose="020B0604020202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C4566B-DD89-4947-8F18-46DAFD05923A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74428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49478">
              <a:defRPr/>
            </a:pPr>
            <a:fld id="{52F0D383-9B97-4F5E-BDDF-A80C065EB761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49478">
                <a:defRPr/>
              </a:pPr>
              <a:t>3</a:t>
            </a:fld>
            <a:endParaRPr lang="en-US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528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C4566B-DD89-4947-8F18-46DAFD05923A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24780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C4566B-DD89-4947-8F18-46DAFD05923A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09846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6.e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emf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FB6D3779-8CD4-4225-B9C0-E3209E9642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53775" y="-273"/>
            <a:ext cx="2290225" cy="344215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9978C2F-EFE9-4041-B85D-BAEB8544BB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367" y="0"/>
            <a:ext cx="2289397" cy="342900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2A39D1D8-7899-4DA7-8872-454888235D5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0" y="0"/>
            <a:ext cx="2286000" cy="342900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E21EA90A-CF08-4B78-BA0E-E877A0256C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84"/>
          <a:stretch/>
        </p:blipFill>
        <p:spPr>
          <a:xfrm>
            <a:off x="2282630" y="0"/>
            <a:ext cx="2290225" cy="3429000"/>
          </a:xfrm>
          <a:prstGeom prst="rect">
            <a:avLst/>
          </a:prstGeom>
        </p:spPr>
      </p:pic>
      <p:pic>
        <p:nvPicPr>
          <p:cNvPr id="5" name="Delta">
            <a:extLst>
              <a:ext uri="{FF2B5EF4-FFF2-40B4-BE49-F238E27FC236}">
                <a16:creationId xmlns:a16="http://schemas.microsoft.com/office/drawing/2014/main" id="{0C723CF2-FBB0-9640-BDCE-63A2D54299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gray">
          <a:xfrm>
            <a:off x="0" y="3200400"/>
            <a:ext cx="9144000" cy="3657600"/>
          </a:xfrm>
          <a:prstGeom prst="rect">
            <a:avLst/>
          </a:prstGeom>
        </p:spPr>
      </p:pic>
      <p:pic>
        <p:nvPicPr>
          <p:cNvPr id="7" name="L3Harris" descr="L3Harris">
            <a:extLst>
              <a:ext uri="{FF2B5EF4-FFF2-40B4-BE49-F238E27FC236}">
                <a16:creationId xmlns:a16="http://schemas.microsoft.com/office/drawing/2014/main" id="{58EA319E-94B3-0647-918B-122A791647AA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black">
          <a:xfrm>
            <a:off x="365760" y="3611873"/>
            <a:ext cx="1889760" cy="54864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199" y="4297681"/>
            <a:ext cx="5440363" cy="822959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2400" u="sng" cap="all" spc="0" baseline="0">
                <a:uFill>
                  <a:solidFill>
                    <a:schemeClr val="tx2"/>
                  </a:solidFill>
                </a:uFill>
              </a:defRPr>
            </a:lvl1pPr>
          </a:lstStyle>
          <a:p>
            <a:r>
              <a:rPr lang="en-US" dirty="0"/>
              <a:t>[PRESENTATION TITLE]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198" y="5212081"/>
            <a:ext cx="5440363" cy="54863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/>
            </a:lvl1pPr>
            <a:lvl2pPr marL="0" indent="0" algn="l">
              <a:spcBef>
                <a:spcPts val="0"/>
              </a:spcBef>
              <a:buNone/>
              <a:defRPr sz="1600"/>
            </a:lvl2pPr>
            <a:lvl3pPr marL="0" indent="0" algn="l">
              <a:spcBef>
                <a:spcPts val="0"/>
              </a:spcBef>
              <a:buNone/>
              <a:defRPr sz="1600"/>
            </a:lvl3pPr>
            <a:lvl4pPr marL="0" indent="0" algn="l">
              <a:spcBef>
                <a:spcPts val="0"/>
              </a:spcBef>
              <a:buNone/>
              <a:defRPr sz="1600"/>
            </a:lvl4pPr>
            <a:lvl5pPr marL="0" indent="0" algn="l">
              <a:spcBef>
                <a:spcPts val="0"/>
              </a:spcBef>
              <a:buNone/>
              <a:defRPr sz="1600"/>
            </a:lvl5pPr>
            <a:lvl6pPr marL="0" indent="0" algn="l">
              <a:spcBef>
                <a:spcPts val="0"/>
              </a:spcBef>
              <a:buNone/>
              <a:defRPr sz="1600"/>
            </a:lvl6pPr>
            <a:lvl7pPr marL="0" indent="0" algn="l">
              <a:spcBef>
                <a:spcPts val="0"/>
              </a:spcBef>
              <a:buNone/>
              <a:defRPr sz="1600"/>
            </a:lvl7pPr>
            <a:lvl8pPr marL="0" indent="0" algn="l">
              <a:spcBef>
                <a:spcPts val="0"/>
              </a:spcBef>
              <a:buNone/>
              <a:defRPr sz="1600"/>
            </a:lvl8pPr>
            <a:lvl9pPr marL="0" indent="0" algn="l">
              <a:spcBef>
                <a:spcPts val="0"/>
              </a:spcBef>
              <a:buNone/>
              <a:defRPr sz="1600"/>
            </a:lvl9pPr>
          </a:lstStyle>
          <a:p>
            <a:r>
              <a:rPr lang="en-US" dirty="0"/>
              <a:t>[Optional presentation subtitle]</a:t>
            </a:r>
          </a:p>
        </p:txBody>
      </p:sp>
      <p:cxnSp>
        <p:nvCxnSpPr>
          <p:cNvPr id="16" name="Line">
            <a:extLst>
              <a:ext uri="{FF2B5EF4-FFF2-40B4-BE49-F238E27FC236}">
                <a16:creationId xmlns:a16="http://schemas.microsoft.com/office/drawing/2014/main" id="{800E4A58-9F73-0D4C-83E2-CC1081EF0E05}"/>
              </a:ext>
            </a:extLst>
          </p:cNvPr>
          <p:cNvCxnSpPr>
            <a:cxnSpLocks/>
          </p:cNvCxnSpPr>
          <p:nvPr userDrawn="1"/>
        </p:nvCxnSpPr>
        <p:spPr>
          <a:xfrm>
            <a:off x="457200" y="5945945"/>
            <a:ext cx="8229600" cy="0"/>
          </a:xfrm>
          <a:prstGeom prst="line">
            <a:avLst/>
          </a:prstGeom>
          <a:ln w="3175" cap="sq">
            <a:solidFill>
              <a:srgbClr val="1724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</p:cxn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FBB78CC0-912E-DF47-B0F7-EA50C61D86E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199" y="6080760"/>
            <a:ext cx="1600201" cy="456565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1200" b="1"/>
            </a:lvl1pPr>
            <a:lvl2pPr marL="0" indent="0">
              <a:spcBef>
                <a:spcPts val="0"/>
              </a:spcBef>
              <a:buFontTx/>
              <a:buNone/>
              <a:defRPr sz="1200" b="1"/>
            </a:lvl2pPr>
            <a:lvl3pPr marL="0" indent="0">
              <a:spcBef>
                <a:spcPts val="0"/>
              </a:spcBef>
              <a:buFontTx/>
              <a:buNone/>
              <a:defRPr sz="1200" b="1"/>
            </a:lvl3pPr>
            <a:lvl4pPr marL="0" indent="0">
              <a:spcBef>
                <a:spcPts val="0"/>
              </a:spcBef>
              <a:buFontTx/>
              <a:buNone/>
              <a:defRPr sz="1200" b="1"/>
            </a:lvl4pPr>
            <a:lvl5pPr marL="0" indent="0">
              <a:spcBef>
                <a:spcPts val="0"/>
              </a:spcBef>
              <a:buFontTx/>
              <a:buNone/>
              <a:defRPr sz="1200" b="1"/>
            </a:lvl5pPr>
            <a:lvl6pPr marL="0" indent="0">
              <a:spcBef>
                <a:spcPts val="0"/>
              </a:spcBef>
              <a:buFontTx/>
              <a:buNone/>
              <a:defRPr sz="1200" b="1"/>
            </a:lvl6pPr>
            <a:lvl7pPr marL="0" indent="0">
              <a:spcBef>
                <a:spcPts val="0"/>
              </a:spcBef>
              <a:buFontTx/>
              <a:buNone/>
              <a:defRPr sz="1200" b="1"/>
            </a:lvl7pPr>
            <a:lvl8pPr marL="0" indent="0">
              <a:spcBef>
                <a:spcPts val="0"/>
              </a:spcBef>
              <a:buFontTx/>
              <a:buNone/>
              <a:defRPr sz="1200" b="1"/>
            </a:lvl8pPr>
            <a:lvl9pPr marL="0" indent="0">
              <a:spcBef>
                <a:spcPts val="0"/>
              </a:spcBef>
              <a:buFontTx/>
              <a:buNone/>
              <a:defRPr sz="1200" b="1"/>
            </a:lvl9pPr>
          </a:lstStyle>
          <a:p>
            <a:pPr lvl="0"/>
            <a:r>
              <a:rPr lang="en-US" dirty="0"/>
              <a:t>[Month 00, 0000]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FABA091C-0833-1E47-B8DB-6AC39E7E3B3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86000" y="6080760"/>
            <a:ext cx="6394087" cy="456565"/>
          </a:xfrm>
        </p:spPr>
        <p:txBody>
          <a:bodyPr>
            <a:normAutofit/>
          </a:bodyPr>
          <a:lstStyle>
            <a:lvl1pPr marL="0" indent="0">
              <a:spcBef>
                <a:spcPts val="300"/>
              </a:spcBef>
              <a:buFontTx/>
              <a:buNone/>
              <a:defRPr sz="1200" b="1"/>
            </a:lvl1pPr>
            <a:lvl2pPr marL="0" indent="0">
              <a:spcBef>
                <a:spcPts val="0"/>
              </a:spcBef>
              <a:buFontTx/>
              <a:buNone/>
              <a:defRPr sz="1200"/>
            </a:lvl2pPr>
            <a:lvl3pPr marL="0" indent="0">
              <a:spcBef>
                <a:spcPts val="0"/>
              </a:spcBef>
              <a:buFontTx/>
              <a:buNone/>
              <a:defRPr sz="1200"/>
            </a:lvl3pPr>
            <a:lvl4pPr marL="0" indent="0">
              <a:spcBef>
                <a:spcPts val="0"/>
              </a:spcBef>
              <a:buFontTx/>
              <a:buNone/>
              <a:defRPr sz="1200"/>
            </a:lvl4pPr>
            <a:lvl5pPr marL="0" indent="0">
              <a:spcBef>
                <a:spcPts val="0"/>
              </a:spcBef>
              <a:buFontTx/>
              <a:buNone/>
              <a:defRPr sz="1200"/>
            </a:lvl5pPr>
            <a:lvl6pPr marL="0" indent="0">
              <a:spcBef>
                <a:spcPts val="0"/>
              </a:spcBef>
              <a:buFontTx/>
              <a:buNone/>
              <a:defRPr sz="1200"/>
            </a:lvl6pPr>
            <a:lvl7pPr marL="0" indent="0">
              <a:spcBef>
                <a:spcPts val="0"/>
              </a:spcBef>
              <a:buFontTx/>
              <a:buNone/>
              <a:defRPr sz="1200"/>
            </a:lvl7pPr>
            <a:lvl8pPr marL="0" indent="0">
              <a:spcBef>
                <a:spcPts val="0"/>
              </a:spcBef>
              <a:buFontTx/>
              <a:buNone/>
              <a:defRPr sz="1200"/>
            </a:lvl8pPr>
            <a:lvl9pPr marL="0" indent="0">
              <a:spcBef>
                <a:spcPts val="0"/>
              </a:spcBef>
              <a:buFontTx/>
              <a:buNone/>
              <a:defRPr sz="1200"/>
            </a:lvl9pPr>
          </a:lstStyle>
          <a:p>
            <a:pPr lvl="0"/>
            <a:r>
              <a:rPr lang="en-US" dirty="0"/>
              <a:t>[PRESENTER NAME | Presenter Title]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F61BA9E-01DA-4900-88D4-DE26699D9B2D}"/>
              </a:ext>
            </a:extLst>
          </p:cNvPr>
          <p:cNvSpPr/>
          <p:nvPr userDrawn="1"/>
        </p:nvSpPr>
        <p:spPr>
          <a:xfrm>
            <a:off x="5187468" y="3441883"/>
            <a:ext cx="395653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00000"/>
              </a:lnSpc>
              <a:spcBef>
                <a:spcPts val="600"/>
              </a:spcBef>
              <a:buSzPct val="100000"/>
            </a:pPr>
            <a:r>
              <a:rPr lang="en-US" sz="800" dirty="0"/>
              <a:t>Use of U.S. DoD</a:t>
            </a:r>
            <a:r>
              <a:rPr lang="en-US" sz="800" baseline="0" dirty="0"/>
              <a:t> visual information does not imply or constitute DoD endorsement.</a:t>
            </a:r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18860627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" userDrawn="1">
          <p15:clr>
            <a:srgbClr val="FBAE40"/>
          </p15:clr>
        </p15:guide>
        <p15:guide id="3" pos="5472" userDrawn="1">
          <p15:clr>
            <a:srgbClr val="FBAE40"/>
          </p15:clr>
        </p15:guide>
        <p15:guide id="4" orient="horz" pos="3744" userDrawn="1">
          <p15:clr>
            <a:srgbClr val="FBAE40"/>
          </p15:clr>
        </p15:guide>
        <p15:guide id="6" orient="horz" pos="4118" userDrawn="1">
          <p15:clr>
            <a:srgbClr val="FBAE40"/>
          </p15:clr>
        </p15:guide>
        <p15:guide id="8" pos="1440" userDrawn="1">
          <p15:clr>
            <a:srgbClr val="FBAE40"/>
          </p15:clr>
        </p15:guide>
        <p15:guide id="9" pos="2880" userDrawn="1">
          <p15:clr>
            <a:srgbClr val="FBAE40"/>
          </p15:clr>
        </p15:guide>
        <p15:guide id="10" pos="432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5FBD9F-E126-4A6F-ADD7-89B9A71894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pic>
        <p:nvPicPr>
          <p:cNvPr id="21" name="Nexus">
            <a:extLst>
              <a:ext uri="{FF2B5EF4-FFF2-40B4-BE49-F238E27FC236}">
                <a16:creationId xmlns:a16="http://schemas.microsoft.com/office/drawing/2014/main" id="{C0C915EF-AB3B-4D10-99E2-1A730A800E6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8278901" y="288612"/>
            <a:ext cx="640080" cy="640080"/>
          </a:xfrm>
          <a:prstGeom prst="rect">
            <a:avLst/>
          </a:prstGeom>
        </p:spPr>
      </p:pic>
      <p:sp>
        <p:nvSpPr>
          <p:cNvPr id="4" name="Content Placeholder 2"/>
          <p:cNvSpPr>
            <a:spLocks noGrp="1"/>
          </p:cNvSpPr>
          <p:nvPr userDrawn="1">
            <p:ph sz="half" idx="2"/>
          </p:nvPr>
        </p:nvSpPr>
        <p:spPr>
          <a:xfrm>
            <a:off x="320675" y="1235074"/>
            <a:ext cx="2651760" cy="4891089"/>
          </a:xfrm>
          <a:ln w="3175">
            <a:solidFill>
              <a:srgbClr val="172430"/>
            </a:solidFill>
          </a:ln>
        </p:spPr>
        <p:txBody>
          <a:bodyPr lIns="91440" tIns="548640" rIns="91440" bIns="91440"/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ext Placeholder 3"/>
          <p:cNvSpPr>
            <a:spLocks noGrp="1"/>
          </p:cNvSpPr>
          <p:nvPr userDrawn="1">
            <p:ph type="body" idx="1" hasCustomPrompt="1"/>
          </p:nvPr>
        </p:nvSpPr>
        <p:spPr>
          <a:xfrm>
            <a:off x="320675" y="1235074"/>
            <a:ext cx="2651760" cy="369332"/>
          </a:xfrm>
          <a:solidFill>
            <a:srgbClr val="172430"/>
          </a:solidFill>
        </p:spPr>
        <p:txBody>
          <a:bodyPr lIns="91440" tIns="91440" rIns="91440" bIns="91440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200" b="1" cap="all" baseline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[BOX TITLE]</a:t>
            </a:r>
          </a:p>
        </p:txBody>
      </p:sp>
      <p:sp>
        <p:nvSpPr>
          <p:cNvPr id="6" name="Content Placeholder 4"/>
          <p:cNvSpPr>
            <a:spLocks noGrp="1"/>
          </p:cNvSpPr>
          <p:nvPr userDrawn="1">
            <p:ph sz="quarter" idx="4"/>
          </p:nvPr>
        </p:nvSpPr>
        <p:spPr>
          <a:xfrm>
            <a:off x="3246120" y="1235074"/>
            <a:ext cx="2651760" cy="4891089"/>
          </a:xfrm>
          <a:ln w="3175">
            <a:solidFill>
              <a:srgbClr val="172430"/>
            </a:solidFill>
          </a:ln>
        </p:spPr>
        <p:txBody>
          <a:bodyPr lIns="91440" tIns="548640" rIns="91440" bIns="91440"/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5"/>
          <p:cNvSpPr>
            <a:spLocks noGrp="1"/>
          </p:cNvSpPr>
          <p:nvPr userDrawn="1">
            <p:ph type="body" sz="quarter" idx="3" hasCustomPrompt="1"/>
          </p:nvPr>
        </p:nvSpPr>
        <p:spPr>
          <a:xfrm>
            <a:off x="3246120" y="1235074"/>
            <a:ext cx="2651760" cy="369332"/>
          </a:xfrm>
          <a:solidFill>
            <a:schemeClr val="accent1"/>
          </a:solidFill>
        </p:spPr>
        <p:txBody>
          <a:bodyPr lIns="91440" tIns="91440" rIns="91440" bIns="91440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200" b="1" cap="all" baseline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[BOX TITLE]</a:t>
            </a:r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853F1D21-3608-5140-B442-7A9F5E456F4C}"/>
              </a:ext>
            </a:extLst>
          </p:cNvPr>
          <p:cNvSpPr>
            <a:spLocks noGrp="1"/>
          </p:cNvSpPr>
          <p:nvPr userDrawn="1">
            <p:ph sz="quarter" idx="12"/>
          </p:nvPr>
        </p:nvSpPr>
        <p:spPr>
          <a:xfrm>
            <a:off x="6172200" y="1235074"/>
            <a:ext cx="2651760" cy="4891089"/>
          </a:xfrm>
          <a:ln w="3175">
            <a:solidFill>
              <a:srgbClr val="172430"/>
            </a:solidFill>
          </a:ln>
        </p:spPr>
        <p:txBody>
          <a:bodyPr lIns="91440" tIns="548640" rIns="91440" bIns="91440"/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755AB54-00F7-B449-AF3F-F5E916C8F342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6172200" y="1235074"/>
            <a:ext cx="2651760" cy="369332"/>
          </a:xfrm>
          <a:solidFill>
            <a:schemeClr val="accent1"/>
          </a:solidFill>
        </p:spPr>
        <p:txBody>
          <a:bodyPr lIns="91440" tIns="91440" rIns="91440" bIns="91440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200" b="1" cap="all" baseline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[BOX TITLE]</a:t>
            </a:r>
          </a:p>
        </p:txBody>
      </p:sp>
      <p:sp>
        <p:nvSpPr>
          <p:cNvPr id="16" name="Footnotes">
            <a:extLst>
              <a:ext uri="{FF2B5EF4-FFF2-40B4-BE49-F238E27FC236}">
                <a16:creationId xmlns:a16="http://schemas.microsoft.com/office/drawing/2014/main" id="{2A4A52FE-A7FE-EA47-ABCE-61876C006C9B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320674" y="6217920"/>
            <a:ext cx="8502649" cy="228638"/>
          </a:xfrm>
        </p:spPr>
        <p:txBody>
          <a:bodyPr anchor="b" anchorCtr="0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dirty="0"/>
              <a:t>[Footnotes/references if needed]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AB773748-2822-4155-AFFC-77BAE28CA1A0}"/>
              </a:ext>
            </a:extLst>
          </p:cNvPr>
          <p:cNvSpPr/>
          <p:nvPr userDrawn="1"/>
        </p:nvSpPr>
        <p:spPr>
          <a:xfrm>
            <a:off x="323086" y="829818"/>
            <a:ext cx="8491728" cy="129540"/>
          </a:xfrm>
          <a:custGeom>
            <a:avLst/>
            <a:gdLst>
              <a:gd name="connsiteX0" fmla="*/ 8491728 w 8491728"/>
              <a:gd name="connsiteY0" fmla="*/ 121920 h 128016"/>
              <a:gd name="connsiteX1" fmla="*/ 7888224 w 8491728"/>
              <a:gd name="connsiteY1" fmla="*/ 121920 h 128016"/>
              <a:gd name="connsiteX2" fmla="*/ 7766304 w 8491728"/>
              <a:gd name="connsiteY2" fmla="*/ 0 h 128016"/>
              <a:gd name="connsiteX3" fmla="*/ 7638288 w 8491728"/>
              <a:gd name="connsiteY3" fmla="*/ 128016 h 128016"/>
              <a:gd name="connsiteX4" fmla="*/ 0 w 8491728"/>
              <a:gd name="connsiteY4" fmla="*/ 128016 h 128016"/>
              <a:gd name="connsiteX0" fmla="*/ 8491728 w 8491728"/>
              <a:gd name="connsiteY0" fmla="*/ 121920 h 129540"/>
              <a:gd name="connsiteX1" fmla="*/ 7893939 w 8491728"/>
              <a:gd name="connsiteY1" fmla="*/ 129540 h 129540"/>
              <a:gd name="connsiteX2" fmla="*/ 7766304 w 8491728"/>
              <a:gd name="connsiteY2" fmla="*/ 0 h 129540"/>
              <a:gd name="connsiteX3" fmla="*/ 7638288 w 8491728"/>
              <a:gd name="connsiteY3" fmla="*/ 128016 h 129540"/>
              <a:gd name="connsiteX4" fmla="*/ 0 w 8491728"/>
              <a:gd name="connsiteY4" fmla="*/ 128016 h 129540"/>
              <a:gd name="connsiteX0" fmla="*/ 8491728 w 8491728"/>
              <a:gd name="connsiteY0" fmla="*/ 133350 h 133350"/>
              <a:gd name="connsiteX1" fmla="*/ 7893939 w 8491728"/>
              <a:gd name="connsiteY1" fmla="*/ 129540 h 133350"/>
              <a:gd name="connsiteX2" fmla="*/ 7766304 w 8491728"/>
              <a:gd name="connsiteY2" fmla="*/ 0 h 133350"/>
              <a:gd name="connsiteX3" fmla="*/ 7638288 w 8491728"/>
              <a:gd name="connsiteY3" fmla="*/ 128016 h 133350"/>
              <a:gd name="connsiteX4" fmla="*/ 0 w 8491728"/>
              <a:gd name="connsiteY4" fmla="*/ 128016 h 133350"/>
              <a:gd name="connsiteX0" fmla="*/ 8489823 w 8489823"/>
              <a:gd name="connsiteY0" fmla="*/ 127635 h 129540"/>
              <a:gd name="connsiteX1" fmla="*/ 7893939 w 8489823"/>
              <a:gd name="connsiteY1" fmla="*/ 129540 h 129540"/>
              <a:gd name="connsiteX2" fmla="*/ 7766304 w 8489823"/>
              <a:gd name="connsiteY2" fmla="*/ 0 h 129540"/>
              <a:gd name="connsiteX3" fmla="*/ 7638288 w 8489823"/>
              <a:gd name="connsiteY3" fmla="*/ 128016 h 129540"/>
              <a:gd name="connsiteX4" fmla="*/ 0 w 8489823"/>
              <a:gd name="connsiteY4" fmla="*/ 128016 h 129540"/>
              <a:gd name="connsiteX0" fmla="*/ 8487918 w 8487918"/>
              <a:gd name="connsiteY0" fmla="*/ 131445 h 131445"/>
              <a:gd name="connsiteX1" fmla="*/ 7893939 w 8487918"/>
              <a:gd name="connsiteY1" fmla="*/ 129540 h 131445"/>
              <a:gd name="connsiteX2" fmla="*/ 7766304 w 8487918"/>
              <a:gd name="connsiteY2" fmla="*/ 0 h 131445"/>
              <a:gd name="connsiteX3" fmla="*/ 7638288 w 8487918"/>
              <a:gd name="connsiteY3" fmla="*/ 128016 h 131445"/>
              <a:gd name="connsiteX4" fmla="*/ 0 w 8487918"/>
              <a:gd name="connsiteY4" fmla="*/ 128016 h 131445"/>
              <a:gd name="connsiteX0" fmla="*/ 8487918 w 8487918"/>
              <a:gd name="connsiteY0" fmla="*/ 12763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7918 w 8487918"/>
              <a:gd name="connsiteY0" fmla="*/ 131445 h 131445"/>
              <a:gd name="connsiteX1" fmla="*/ 7893939 w 8487918"/>
              <a:gd name="connsiteY1" fmla="*/ 129540 h 131445"/>
              <a:gd name="connsiteX2" fmla="*/ 7766304 w 8487918"/>
              <a:gd name="connsiteY2" fmla="*/ 0 h 131445"/>
              <a:gd name="connsiteX3" fmla="*/ 7638288 w 8487918"/>
              <a:gd name="connsiteY3" fmla="*/ 128016 h 131445"/>
              <a:gd name="connsiteX4" fmla="*/ 0 w 8487918"/>
              <a:gd name="connsiteY4" fmla="*/ 128016 h 131445"/>
              <a:gd name="connsiteX0" fmla="*/ 8487918 w 8487918"/>
              <a:gd name="connsiteY0" fmla="*/ 125730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7918 w 8487918"/>
              <a:gd name="connsiteY0" fmla="*/ 12763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6013 w 8486013"/>
              <a:gd name="connsiteY0" fmla="*/ 127635 h 129540"/>
              <a:gd name="connsiteX1" fmla="*/ 7893939 w 8486013"/>
              <a:gd name="connsiteY1" fmla="*/ 129540 h 129540"/>
              <a:gd name="connsiteX2" fmla="*/ 7766304 w 8486013"/>
              <a:gd name="connsiteY2" fmla="*/ 0 h 129540"/>
              <a:gd name="connsiteX3" fmla="*/ 7638288 w 8486013"/>
              <a:gd name="connsiteY3" fmla="*/ 128016 h 129540"/>
              <a:gd name="connsiteX4" fmla="*/ 0 w 8486013"/>
              <a:gd name="connsiteY4" fmla="*/ 128016 h 129540"/>
              <a:gd name="connsiteX0" fmla="*/ 8493633 w 8493633"/>
              <a:gd name="connsiteY0" fmla="*/ 127635 h 129540"/>
              <a:gd name="connsiteX1" fmla="*/ 7893939 w 8493633"/>
              <a:gd name="connsiteY1" fmla="*/ 129540 h 129540"/>
              <a:gd name="connsiteX2" fmla="*/ 7766304 w 8493633"/>
              <a:gd name="connsiteY2" fmla="*/ 0 h 129540"/>
              <a:gd name="connsiteX3" fmla="*/ 7638288 w 8493633"/>
              <a:gd name="connsiteY3" fmla="*/ 128016 h 129540"/>
              <a:gd name="connsiteX4" fmla="*/ 0 w 8493633"/>
              <a:gd name="connsiteY4" fmla="*/ 128016 h 129540"/>
              <a:gd name="connsiteX0" fmla="*/ 8493633 w 8493633"/>
              <a:gd name="connsiteY0" fmla="*/ 133350 h 133350"/>
              <a:gd name="connsiteX1" fmla="*/ 7893939 w 8493633"/>
              <a:gd name="connsiteY1" fmla="*/ 129540 h 133350"/>
              <a:gd name="connsiteX2" fmla="*/ 7766304 w 8493633"/>
              <a:gd name="connsiteY2" fmla="*/ 0 h 133350"/>
              <a:gd name="connsiteX3" fmla="*/ 7638288 w 8493633"/>
              <a:gd name="connsiteY3" fmla="*/ 128016 h 133350"/>
              <a:gd name="connsiteX4" fmla="*/ 0 w 8493633"/>
              <a:gd name="connsiteY4" fmla="*/ 128016 h 133350"/>
              <a:gd name="connsiteX0" fmla="*/ 8487918 w 8487918"/>
              <a:gd name="connsiteY0" fmla="*/ 9334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91728 w 8491728"/>
              <a:gd name="connsiteY0" fmla="*/ 129540 h 129540"/>
              <a:gd name="connsiteX1" fmla="*/ 7893939 w 8491728"/>
              <a:gd name="connsiteY1" fmla="*/ 129540 h 129540"/>
              <a:gd name="connsiteX2" fmla="*/ 7766304 w 8491728"/>
              <a:gd name="connsiteY2" fmla="*/ 0 h 129540"/>
              <a:gd name="connsiteX3" fmla="*/ 7638288 w 8491728"/>
              <a:gd name="connsiteY3" fmla="*/ 128016 h 129540"/>
              <a:gd name="connsiteX4" fmla="*/ 0 w 8491728"/>
              <a:gd name="connsiteY4" fmla="*/ 128016 h 129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91728" h="129540">
                <a:moveTo>
                  <a:pt x="8491728" y="129540"/>
                </a:moveTo>
                <a:lnTo>
                  <a:pt x="7893939" y="129540"/>
                </a:lnTo>
                <a:lnTo>
                  <a:pt x="7766304" y="0"/>
                </a:lnTo>
                <a:lnTo>
                  <a:pt x="7638288" y="128016"/>
                </a:lnTo>
                <a:lnTo>
                  <a:pt x="0" y="128016"/>
                </a:lnTo>
              </a:path>
            </a:pathLst>
          </a:custGeom>
          <a:noFill/>
          <a:ln w="12700"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2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23815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72" userDrawn="1">
          <p15:clr>
            <a:srgbClr val="FBAE40"/>
          </p15:clr>
        </p15:guide>
        <p15:guide id="2" pos="2045" userDrawn="1">
          <p15:clr>
            <a:srgbClr val="FBAE40"/>
          </p15:clr>
        </p15:guide>
        <p15:guide id="3" orient="horz" pos="778">
          <p15:clr>
            <a:srgbClr val="FBAE40"/>
          </p15:clr>
        </p15:guide>
        <p15:guide id="6" orient="horz" pos="3859" userDrawn="1">
          <p15:clr>
            <a:srgbClr val="FBAE40"/>
          </p15:clr>
        </p15:guide>
        <p15:guide id="7" pos="202">
          <p15:clr>
            <a:srgbClr val="FBAE40"/>
          </p15:clr>
        </p15:guide>
        <p15:guide id="8" pos="5558">
          <p15:clr>
            <a:srgbClr val="FBAE40"/>
          </p15:clr>
        </p15:guide>
        <p15:guide id="9" orient="horz" pos="202">
          <p15:clr>
            <a:srgbClr val="FBAE40"/>
          </p15:clr>
        </p15:guide>
        <p15:guide id="10" orient="horz" pos="4118">
          <p15:clr>
            <a:srgbClr val="FBAE40"/>
          </p15:clr>
        </p15:guide>
        <p15:guide id="11" pos="3715" userDrawn="1">
          <p15:clr>
            <a:srgbClr val="FBAE40"/>
          </p15:clr>
        </p15:guide>
        <p15:guide id="12" pos="3888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5FBD9F-E126-4A6F-ADD7-89B9A71894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pic>
        <p:nvPicPr>
          <p:cNvPr id="20" name="Nexus">
            <a:extLst>
              <a:ext uri="{FF2B5EF4-FFF2-40B4-BE49-F238E27FC236}">
                <a16:creationId xmlns:a16="http://schemas.microsoft.com/office/drawing/2014/main" id="{E2A6AB09-B698-45DF-9778-EF40687622C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8278901" y="288612"/>
            <a:ext cx="640080" cy="640080"/>
          </a:xfrm>
          <a:prstGeom prst="rect">
            <a:avLst/>
          </a:prstGeom>
        </p:spPr>
      </p:pic>
      <p:sp>
        <p:nvSpPr>
          <p:cNvPr id="4" name="Content Placeholder 2"/>
          <p:cNvSpPr>
            <a:spLocks noGrp="1"/>
          </p:cNvSpPr>
          <p:nvPr userDrawn="1">
            <p:ph sz="half" idx="2"/>
          </p:nvPr>
        </p:nvSpPr>
        <p:spPr>
          <a:xfrm>
            <a:off x="320675" y="1235073"/>
            <a:ext cx="4114800" cy="2313432"/>
          </a:xfrm>
          <a:ln w="3175">
            <a:solidFill>
              <a:srgbClr val="172430"/>
            </a:solidFill>
          </a:ln>
        </p:spPr>
        <p:txBody>
          <a:bodyPr lIns="91440" tIns="548640" rIns="91440" bIns="274320"/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ext Placeholder 3"/>
          <p:cNvSpPr>
            <a:spLocks noGrp="1"/>
          </p:cNvSpPr>
          <p:nvPr userDrawn="1">
            <p:ph type="body" idx="1" hasCustomPrompt="1"/>
          </p:nvPr>
        </p:nvSpPr>
        <p:spPr>
          <a:xfrm>
            <a:off x="320675" y="1235074"/>
            <a:ext cx="4114800" cy="369332"/>
          </a:xfrm>
          <a:solidFill>
            <a:srgbClr val="172430"/>
          </a:solidFill>
        </p:spPr>
        <p:txBody>
          <a:bodyPr lIns="91440" tIns="91440" rIns="91440" bIns="91440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200" b="1" cap="all" baseline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[BOX TITLE]</a:t>
            </a:r>
          </a:p>
        </p:txBody>
      </p:sp>
      <p:sp>
        <p:nvSpPr>
          <p:cNvPr id="6" name="Content Placeholder 4"/>
          <p:cNvSpPr>
            <a:spLocks noGrp="1"/>
          </p:cNvSpPr>
          <p:nvPr userDrawn="1">
            <p:ph sz="quarter" idx="4"/>
          </p:nvPr>
        </p:nvSpPr>
        <p:spPr>
          <a:xfrm>
            <a:off x="4708525" y="1235073"/>
            <a:ext cx="4114800" cy="2313432"/>
          </a:xfrm>
          <a:ln w="3175">
            <a:solidFill>
              <a:srgbClr val="172430"/>
            </a:solidFill>
          </a:ln>
        </p:spPr>
        <p:txBody>
          <a:bodyPr lIns="91440" tIns="548640" rIns="91440" bIns="274320"/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5"/>
          <p:cNvSpPr>
            <a:spLocks noGrp="1"/>
          </p:cNvSpPr>
          <p:nvPr userDrawn="1">
            <p:ph type="body" sz="quarter" idx="3" hasCustomPrompt="1"/>
          </p:nvPr>
        </p:nvSpPr>
        <p:spPr>
          <a:xfrm>
            <a:off x="4708525" y="1235074"/>
            <a:ext cx="4114800" cy="369332"/>
          </a:xfrm>
          <a:solidFill>
            <a:schemeClr val="accent1"/>
          </a:solidFill>
        </p:spPr>
        <p:txBody>
          <a:bodyPr lIns="91440" tIns="91440" rIns="91440" bIns="91440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200" b="1" cap="all" baseline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[BOX TITLE]</a:t>
            </a:r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9E1FF32A-E49E-3146-9819-F9875DCE8689}"/>
              </a:ext>
            </a:extLst>
          </p:cNvPr>
          <p:cNvSpPr>
            <a:spLocks noGrp="1"/>
          </p:cNvSpPr>
          <p:nvPr userDrawn="1">
            <p:ph sz="quarter" idx="12"/>
          </p:nvPr>
        </p:nvSpPr>
        <p:spPr>
          <a:xfrm>
            <a:off x="320675" y="3812731"/>
            <a:ext cx="4114800" cy="2313432"/>
          </a:xfrm>
          <a:ln w="3175">
            <a:solidFill>
              <a:srgbClr val="172430"/>
            </a:solidFill>
          </a:ln>
        </p:spPr>
        <p:txBody>
          <a:bodyPr lIns="91440" tIns="548640" rIns="91440" bIns="274320"/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31ABB531-5D84-0744-85A0-A23FEB229CB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20675" y="3812731"/>
            <a:ext cx="4114800" cy="369332"/>
          </a:xfrm>
          <a:solidFill>
            <a:schemeClr val="accent1"/>
          </a:solidFill>
        </p:spPr>
        <p:txBody>
          <a:bodyPr wrap="square" lIns="91440" tIns="91440" rIns="91440" bIns="91440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200" b="1" cap="all" baseline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[BOX TITLE]</a:t>
            </a:r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EDCF1356-9E0E-D545-930B-84BF5FC2CB87}"/>
              </a:ext>
            </a:extLst>
          </p:cNvPr>
          <p:cNvSpPr>
            <a:spLocks noGrp="1"/>
          </p:cNvSpPr>
          <p:nvPr userDrawn="1">
            <p:ph sz="quarter" idx="14"/>
          </p:nvPr>
        </p:nvSpPr>
        <p:spPr>
          <a:xfrm>
            <a:off x="4709160" y="3812731"/>
            <a:ext cx="4114800" cy="2313432"/>
          </a:xfrm>
          <a:ln w="3175">
            <a:solidFill>
              <a:srgbClr val="172430"/>
            </a:solidFill>
          </a:ln>
        </p:spPr>
        <p:txBody>
          <a:bodyPr lIns="91440" tIns="548640" rIns="91440" bIns="274320"/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F1353700-7CC2-AB4A-9829-6013F9611EDB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709160" y="3812731"/>
            <a:ext cx="4114800" cy="369332"/>
          </a:xfrm>
          <a:solidFill>
            <a:schemeClr val="accent1"/>
          </a:solidFill>
        </p:spPr>
        <p:txBody>
          <a:bodyPr lIns="91440" tIns="91440" rIns="91440" bIns="91440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200" b="1" cap="all" baseline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[BOX TITLE]</a:t>
            </a:r>
          </a:p>
        </p:txBody>
      </p:sp>
      <p:sp>
        <p:nvSpPr>
          <p:cNvPr id="18" name="Footnotes">
            <a:extLst>
              <a:ext uri="{FF2B5EF4-FFF2-40B4-BE49-F238E27FC236}">
                <a16:creationId xmlns:a16="http://schemas.microsoft.com/office/drawing/2014/main" id="{4D401919-F5C1-AC41-B76A-F53EA477E452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320674" y="6217920"/>
            <a:ext cx="8502649" cy="228638"/>
          </a:xfrm>
        </p:spPr>
        <p:txBody>
          <a:bodyPr anchor="b" anchorCtr="0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dirty="0"/>
              <a:t>[Footnotes/references if needed]</a:t>
            </a: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3860C128-5250-405E-A51A-6F0D00018F20}"/>
              </a:ext>
            </a:extLst>
          </p:cNvPr>
          <p:cNvSpPr/>
          <p:nvPr userDrawn="1"/>
        </p:nvSpPr>
        <p:spPr>
          <a:xfrm>
            <a:off x="323086" y="829818"/>
            <a:ext cx="8491728" cy="129540"/>
          </a:xfrm>
          <a:custGeom>
            <a:avLst/>
            <a:gdLst>
              <a:gd name="connsiteX0" fmla="*/ 8491728 w 8491728"/>
              <a:gd name="connsiteY0" fmla="*/ 121920 h 128016"/>
              <a:gd name="connsiteX1" fmla="*/ 7888224 w 8491728"/>
              <a:gd name="connsiteY1" fmla="*/ 121920 h 128016"/>
              <a:gd name="connsiteX2" fmla="*/ 7766304 w 8491728"/>
              <a:gd name="connsiteY2" fmla="*/ 0 h 128016"/>
              <a:gd name="connsiteX3" fmla="*/ 7638288 w 8491728"/>
              <a:gd name="connsiteY3" fmla="*/ 128016 h 128016"/>
              <a:gd name="connsiteX4" fmla="*/ 0 w 8491728"/>
              <a:gd name="connsiteY4" fmla="*/ 128016 h 128016"/>
              <a:gd name="connsiteX0" fmla="*/ 8491728 w 8491728"/>
              <a:gd name="connsiteY0" fmla="*/ 121920 h 129540"/>
              <a:gd name="connsiteX1" fmla="*/ 7893939 w 8491728"/>
              <a:gd name="connsiteY1" fmla="*/ 129540 h 129540"/>
              <a:gd name="connsiteX2" fmla="*/ 7766304 w 8491728"/>
              <a:gd name="connsiteY2" fmla="*/ 0 h 129540"/>
              <a:gd name="connsiteX3" fmla="*/ 7638288 w 8491728"/>
              <a:gd name="connsiteY3" fmla="*/ 128016 h 129540"/>
              <a:gd name="connsiteX4" fmla="*/ 0 w 8491728"/>
              <a:gd name="connsiteY4" fmla="*/ 128016 h 129540"/>
              <a:gd name="connsiteX0" fmla="*/ 8491728 w 8491728"/>
              <a:gd name="connsiteY0" fmla="*/ 133350 h 133350"/>
              <a:gd name="connsiteX1" fmla="*/ 7893939 w 8491728"/>
              <a:gd name="connsiteY1" fmla="*/ 129540 h 133350"/>
              <a:gd name="connsiteX2" fmla="*/ 7766304 w 8491728"/>
              <a:gd name="connsiteY2" fmla="*/ 0 h 133350"/>
              <a:gd name="connsiteX3" fmla="*/ 7638288 w 8491728"/>
              <a:gd name="connsiteY3" fmla="*/ 128016 h 133350"/>
              <a:gd name="connsiteX4" fmla="*/ 0 w 8491728"/>
              <a:gd name="connsiteY4" fmla="*/ 128016 h 133350"/>
              <a:gd name="connsiteX0" fmla="*/ 8489823 w 8489823"/>
              <a:gd name="connsiteY0" fmla="*/ 127635 h 129540"/>
              <a:gd name="connsiteX1" fmla="*/ 7893939 w 8489823"/>
              <a:gd name="connsiteY1" fmla="*/ 129540 h 129540"/>
              <a:gd name="connsiteX2" fmla="*/ 7766304 w 8489823"/>
              <a:gd name="connsiteY2" fmla="*/ 0 h 129540"/>
              <a:gd name="connsiteX3" fmla="*/ 7638288 w 8489823"/>
              <a:gd name="connsiteY3" fmla="*/ 128016 h 129540"/>
              <a:gd name="connsiteX4" fmla="*/ 0 w 8489823"/>
              <a:gd name="connsiteY4" fmla="*/ 128016 h 129540"/>
              <a:gd name="connsiteX0" fmla="*/ 8487918 w 8487918"/>
              <a:gd name="connsiteY0" fmla="*/ 131445 h 131445"/>
              <a:gd name="connsiteX1" fmla="*/ 7893939 w 8487918"/>
              <a:gd name="connsiteY1" fmla="*/ 129540 h 131445"/>
              <a:gd name="connsiteX2" fmla="*/ 7766304 w 8487918"/>
              <a:gd name="connsiteY2" fmla="*/ 0 h 131445"/>
              <a:gd name="connsiteX3" fmla="*/ 7638288 w 8487918"/>
              <a:gd name="connsiteY3" fmla="*/ 128016 h 131445"/>
              <a:gd name="connsiteX4" fmla="*/ 0 w 8487918"/>
              <a:gd name="connsiteY4" fmla="*/ 128016 h 131445"/>
              <a:gd name="connsiteX0" fmla="*/ 8487918 w 8487918"/>
              <a:gd name="connsiteY0" fmla="*/ 12763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7918 w 8487918"/>
              <a:gd name="connsiteY0" fmla="*/ 131445 h 131445"/>
              <a:gd name="connsiteX1" fmla="*/ 7893939 w 8487918"/>
              <a:gd name="connsiteY1" fmla="*/ 129540 h 131445"/>
              <a:gd name="connsiteX2" fmla="*/ 7766304 w 8487918"/>
              <a:gd name="connsiteY2" fmla="*/ 0 h 131445"/>
              <a:gd name="connsiteX3" fmla="*/ 7638288 w 8487918"/>
              <a:gd name="connsiteY3" fmla="*/ 128016 h 131445"/>
              <a:gd name="connsiteX4" fmla="*/ 0 w 8487918"/>
              <a:gd name="connsiteY4" fmla="*/ 128016 h 131445"/>
              <a:gd name="connsiteX0" fmla="*/ 8487918 w 8487918"/>
              <a:gd name="connsiteY0" fmla="*/ 125730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7918 w 8487918"/>
              <a:gd name="connsiteY0" fmla="*/ 12763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6013 w 8486013"/>
              <a:gd name="connsiteY0" fmla="*/ 127635 h 129540"/>
              <a:gd name="connsiteX1" fmla="*/ 7893939 w 8486013"/>
              <a:gd name="connsiteY1" fmla="*/ 129540 h 129540"/>
              <a:gd name="connsiteX2" fmla="*/ 7766304 w 8486013"/>
              <a:gd name="connsiteY2" fmla="*/ 0 h 129540"/>
              <a:gd name="connsiteX3" fmla="*/ 7638288 w 8486013"/>
              <a:gd name="connsiteY3" fmla="*/ 128016 h 129540"/>
              <a:gd name="connsiteX4" fmla="*/ 0 w 8486013"/>
              <a:gd name="connsiteY4" fmla="*/ 128016 h 129540"/>
              <a:gd name="connsiteX0" fmla="*/ 8493633 w 8493633"/>
              <a:gd name="connsiteY0" fmla="*/ 127635 h 129540"/>
              <a:gd name="connsiteX1" fmla="*/ 7893939 w 8493633"/>
              <a:gd name="connsiteY1" fmla="*/ 129540 h 129540"/>
              <a:gd name="connsiteX2" fmla="*/ 7766304 w 8493633"/>
              <a:gd name="connsiteY2" fmla="*/ 0 h 129540"/>
              <a:gd name="connsiteX3" fmla="*/ 7638288 w 8493633"/>
              <a:gd name="connsiteY3" fmla="*/ 128016 h 129540"/>
              <a:gd name="connsiteX4" fmla="*/ 0 w 8493633"/>
              <a:gd name="connsiteY4" fmla="*/ 128016 h 129540"/>
              <a:gd name="connsiteX0" fmla="*/ 8493633 w 8493633"/>
              <a:gd name="connsiteY0" fmla="*/ 133350 h 133350"/>
              <a:gd name="connsiteX1" fmla="*/ 7893939 w 8493633"/>
              <a:gd name="connsiteY1" fmla="*/ 129540 h 133350"/>
              <a:gd name="connsiteX2" fmla="*/ 7766304 w 8493633"/>
              <a:gd name="connsiteY2" fmla="*/ 0 h 133350"/>
              <a:gd name="connsiteX3" fmla="*/ 7638288 w 8493633"/>
              <a:gd name="connsiteY3" fmla="*/ 128016 h 133350"/>
              <a:gd name="connsiteX4" fmla="*/ 0 w 8493633"/>
              <a:gd name="connsiteY4" fmla="*/ 128016 h 133350"/>
              <a:gd name="connsiteX0" fmla="*/ 8487918 w 8487918"/>
              <a:gd name="connsiteY0" fmla="*/ 9334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91728 w 8491728"/>
              <a:gd name="connsiteY0" fmla="*/ 129540 h 129540"/>
              <a:gd name="connsiteX1" fmla="*/ 7893939 w 8491728"/>
              <a:gd name="connsiteY1" fmla="*/ 129540 h 129540"/>
              <a:gd name="connsiteX2" fmla="*/ 7766304 w 8491728"/>
              <a:gd name="connsiteY2" fmla="*/ 0 h 129540"/>
              <a:gd name="connsiteX3" fmla="*/ 7638288 w 8491728"/>
              <a:gd name="connsiteY3" fmla="*/ 128016 h 129540"/>
              <a:gd name="connsiteX4" fmla="*/ 0 w 8491728"/>
              <a:gd name="connsiteY4" fmla="*/ 128016 h 129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91728" h="129540">
                <a:moveTo>
                  <a:pt x="8491728" y="129540"/>
                </a:moveTo>
                <a:lnTo>
                  <a:pt x="7893939" y="129540"/>
                </a:lnTo>
                <a:lnTo>
                  <a:pt x="7766304" y="0"/>
                </a:lnTo>
                <a:lnTo>
                  <a:pt x="7638288" y="128016"/>
                </a:lnTo>
                <a:lnTo>
                  <a:pt x="0" y="128016"/>
                </a:lnTo>
              </a:path>
            </a:pathLst>
          </a:custGeom>
          <a:noFill/>
          <a:ln w="12700"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2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702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94">
          <p15:clr>
            <a:srgbClr val="FBAE40"/>
          </p15:clr>
        </p15:guide>
        <p15:guide id="2" pos="2966">
          <p15:clr>
            <a:srgbClr val="FBAE40"/>
          </p15:clr>
        </p15:guide>
        <p15:guide id="3" orient="horz" pos="778">
          <p15:clr>
            <a:srgbClr val="FBAE40"/>
          </p15:clr>
        </p15:guide>
        <p15:guide id="6" orient="horz" pos="3859" userDrawn="1">
          <p15:clr>
            <a:srgbClr val="FBAE40"/>
          </p15:clr>
        </p15:guide>
        <p15:guide id="7" pos="202">
          <p15:clr>
            <a:srgbClr val="FBAE40"/>
          </p15:clr>
        </p15:guide>
        <p15:guide id="8" pos="5558">
          <p15:clr>
            <a:srgbClr val="FBAE40"/>
          </p15:clr>
        </p15:guide>
        <p15:guide id="9" orient="horz" pos="202">
          <p15:clr>
            <a:srgbClr val="FBAE40"/>
          </p15:clr>
        </p15:guide>
        <p15:guide id="10" orient="horz" pos="4118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Four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5FBD9F-E126-4A6F-ADD7-89B9A71894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pic>
        <p:nvPicPr>
          <p:cNvPr id="21" name="Nexus">
            <a:extLst>
              <a:ext uri="{FF2B5EF4-FFF2-40B4-BE49-F238E27FC236}">
                <a16:creationId xmlns:a16="http://schemas.microsoft.com/office/drawing/2014/main" id="{B2F8FA41-92B7-42AC-A025-18FF6A85AD7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8278901" y="288612"/>
            <a:ext cx="640080" cy="640080"/>
          </a:xfrm>
          <a:prstGeom prst="rect">
            <a:avLst/>
          </a:prstGeom>
        </p:spPr>
      </p:pic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D739A8D-8980-8C48-8D0D-7056E2553504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320675" y="1235076"/>
            <a:ext cx="8502650" cy="6394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2"/>
          <p:cNvSpPr>
            <a:spLocks noGrp="1"/>
          </p:cNvSpPr>
          <p:nvPr userDrawn="1">
            <p:ph sz="half" idx="2"/>
          </p:nvPr>
        </p:nvSpPr>
        <p:spPr>
          <a:xfrm>
            <a:off x="320675" y="1920240"/>
            <a:ext cx="4114800" cy="1965960"/>
          </a:xfrm>
          <a:ln w="3175">
            <a:solidFill>
              <a:srgbClr val="172430"/>
            </a:solidFill>
          </a:ln>
        </p:spPr>
        <p:txBody>
          <a:bodyPr lIns="91440" tIns="548640" rIns="91440" bIns="274320"/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ext Placeholder 3"/>
          <p:cNvSpPr>
            <a:spLocks noGrp="1"/>
          </p:cNvSpPr>
          <p:nvPr userDrawn="1">
            <p:ph type="body" idx="1" hasCustomPrompt="1"/>
          </p:nvPr>
        </p:nvSpPr>
        <p:spPr>
          <a:xfrm>
            <a:off x="320675" y="1920240"/>
            <a:ext cx="4114800" cy="369332"/>
          </a:xfrm>
          <a:solidFill>
            <a:srgbClr val="172430"/>
          </a:solidFill>
        </p:spPr>
        <p:txBody>
          <a:bodyPr lIns="91440" tIns="91440" rIns="91440" bIns="91440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200" b="1" cap="all" baseline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[BOX TITLE]</a:t>
            </a:r>
          </a:p>
        </p:txBody>
      </p:sp>
      <p:sp>
        <p:nvSpPr>
          <p:cNvPr id="6" name="Content Placeholder 4"/>
          <p:cNvSpPr>
            <a:spLocks noGrp="1"/>
          </p:cNvSpPr>
          <p:nvPr userDrawn="1">
            <p:ph sz="quarter" idx="4"/>
          </p:nvPr>
        </p:nvSpPr>
        <p:spPr>
          <a:xfrm>
            <a:off x="4708525" y="1920240"/>
            <a:ext cx="4114800" cy="1965960"/>
          </a:xfrm>
          <a:ln w="3175">
            <a:solidFill>
              <a:srgbClr val="172430"/>
            </a:solidFill>
          </a:ln>
        </p:spPr>
        <p:txBody>
          <a:bodyPr lIns="91440" tIns="548640" rIns="91440" bIns="274320"/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5"/>
          <p:cNvSpPr>
            <a:spLocks noGrp="1"/>
          </p:cNvSpPr>
          <p:nvPr userDrawn="1">
            <p:ph type="body" sz="quarter" idx="3" hasCustomPrompt="1"/>
          </p:nvPr>
        </p:nvSpPr>
        <p:spPr>
          <a:xfrm>
            <a:off x="4708525" y="1920240"/>
            <a:ext cx="4114800" cy="369332"/>
          </a:xfrm>
          <a:solidFill>
            <a:schemeClr val="accent1"/>
          </a:solidFill>
        </p:spPr>
        <p:txBody>
          <a:bodyPr lIns="91440" tIns="91440" rIns="91440" bIns="91440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200" b="1" cap="all" baseline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[BOX TITLE]</a:t>
            </a:r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9E1FF32A-E49E-3146-9819-F9875DCE8689}"/>
              </a:ext>
            </a:extLst>
          </p:cNvPr>
          <p:cNvSpPr>
            <a:spLocks noGrp="1"/>
          </p:cNvSpPr>
          <p:nvPr userDrawn="1">
            <p:ph sz="quarter" idx="12"/>
          </p:nvPr>
        </p:nvSpPr>
        <p:spPr>
          <a:xfrm>
            <a:off x="320675" y="4160203"/>
            <a:ext cx="4114800" cy="1965960"/>
          </a:xfrm>
          <a:ln w="3175">
            <a:solidFill>
              <a:srgbClr val="172430"/>
            </a:solidFill>
          </a:ln>
        </p:spPr>
        <p:txBody>
          <a:bodyPr lIns="91440" tIns="548640" rIns="91440" bIns="274320"/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31ABB531-5D84-0744-85A0-A23FEB229CB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20675" y="4160203"/>
            <a:ext cx="4114800" cy="369332"/>
          </a:xfrm>
          <a:solidFill>
            <a:schemeClr val="accent1"/>
          </a:solidFill>
        </p:spPr>
        <p:txBody>
          <a:bodyPr lIns="91440" tIns="91440" rIns="91440" bIns="91440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200" b="1" cap="all" baseline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[BOX TITLE]</a:t>
            </a:r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EDCF1356-9E0E-D545-930B-84BF5FC2CB87}"/>
              </a:ext>
            </a:extLst>
          </p:cNvPr>
          <p:cNvSpPr>
            <a:spLocks noGrp="1"/>
          </p:cNvSpPr>
          <p:nvPr userDrawn="1">
            <p:ph sz="quarter" idx="14"/>
          </p:nvPr>
        </p:nvSpPr>
        <p:spPr>
          <a:xfrm>
            <a:off x="4709160" y="4160203"/>
            <a:ext cx="4114800" cy="1965960"/>
          </a:xfrm>
          <a:ln w="3175">
            <a:solidFill>
              <a:srgbClr val="172430"/>
            </a:solidFill>
          </a:ln>
        </p:spPr>
        <p:txBody>
          <a:bodyPr lIns="91440" tIns="548640" rIns="91440" bIns="274320"/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F1353700-7CC2-AB4A-9829-6013F9611EDB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709160" y="4160203"/>
            <a:ext cx="4114800" cy="369332"/>
          </a:xfrm>
          <a:solidFill>
            <a:schemeClr val="accent1"/>
          </a:solidFill>
        </p:spPr>
        <p:txBody>
          <a:bodyPr lIns="91440" tIns="91440" rIns="91440" bIns="91440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200" b="1" cap="all" baseline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[BOX TITLE]</a:t>
            </a:r>
          </a:p>
        </p:txBody>
      </p:sp>
      <p:sp>
        <p:nvSpPr>
          <p:cNvPr id="18" name="Footnotes">
            <a:extLst>
              <a:ext uri="{FF2B5EF4-FFF2-40B4-BE49-F238E27FC236}">
                <a16:creationId xmlns:a16="http://schemas.microsoft.com/office/drawing/2014/main" id="{A6B0B1B4-7B78-3F4F-94A1-7A43C7163635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320674" y="6217920"/>
            <a:ext cx="8502649" cy="228638"/>
          </a:xfrm>
        </p:spPr>
        <p:txBody>
          <a:bodyPr anchor="b" anchorCtr="0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dirty="0"/>
              <a:t>[Footnotes/references if needed]</a:t>
            </a: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87D8A579-5625-4D8B-8630-E7B7CC624751}"/>
              </a:ext>
            </a:extLst>
          </p:cNvPr>
          <p:cNvSpPr/>
          <p:nvPr userDrawn="1"/>
        </p:nvSpPr>
        <p:spPr>
          <a:xfrm>
            <a:off x="323086" y="829818"/>
            <a:ext cx="8491728" cy="129540"/>
          </a:xfrm>
          <a:custGeom>
            <a:avLst/>
            <a:gdLst>
              <a:gd name="connsiteX0" fmla="*/ 8491728 w 8491728"/>
              <a:gd name="connsiteY0" fmla="*/ 121920 h 128016"/>
              <a:gd name="connsiteX1" fmla="*/ 7888224 w 8491728"/>
              <a:gd name="connsiteY1" fmla="*/ 121920 h 128016"/>
              <a:gd name="connsiteX2" fmla="*/ 7766304 w 8491728"/>
              <a:gd name="connsiteY2" fmla="*/ 0 h 128016"/>
              <a:gd name="connsiteX3" fmla="*/ 7638288 w 8491728"/>
              <a:gd name="connsiteY3" fmla="*/ 128016 h 128016"/>
              <a:gd name="connsiteX4" fmla="*/ 0 w 8491728"/>
              <a:gd name="connsiteY4" fmla="*/ 128016 h 128016"/>
              <a:gd name="connsiteX0" fmla="*/ 8491728 w 8491728"/>
              <a:gd name="connsiteY0" fmla="*/ 121920 h 129540"/>
              <a:gd name="connsiteX1" fmla="*/ 7893939 w 8491728"/>
              <a:gd name="connsiteY1" fmla="*/ 129540 h 129540"/>
              <a:gd name="connsiteX2" fmla="*/ 7766304 w 8491728"/>
              <a:gd name="connsiteY2" fmla="*/ 0 h 129540"/>
              <a:gd name="connsiteX3" fmla="*/ 7638288 w 8491728"/>
              <a:gd name="connsiteY3" fmla="*/ 128016 h 129540"/>
              <a:gd name="connsiteX4" fmla="*/ 0 w 8491728"/>
              <a:gd name="connsiteY4" fmla="*/ 128016 h 129540"/>
              <a:gd name="connsiteX0" fmla="*/ 8491728 w 8491728"/>
              <a:gd name="connsiteY0" fmla="*/ 133350 h 133350"/>
              <a:gd name="connsiteX1" fmla="*/ 7893939 w 8491728"/>
              <a:gd name="connsiteY1" fmla="*/ 129540 h 133350"/>
              <a:gd name="connsiteX2" fmla="*/ 7766304 w 8491728"/>
              <a:gd name="connsiteY2" fmla="*/ 0 h 133350"/>
              <a:gd name="connsiteX3" fmla="*/ 7638288 w 8491728"/>
              <a:gd name="connsiteY3" fmla="*/ 128016 h 133350"/>
              <a:gd name="connsiteX4" fmla="*/ 0 w 8491728"/>
              <a:gd name="connsiteY4" fmla="*/ 128016 h 133350"/>
              <a:gd name="connsiteX0" fmla="*/ 8489823 w 8489823"/>
              <a:gd name="connsiteY0" fmla="*/ 127635 h 129540"/>
              <a:gd name="connsiteX1" fmla="*/ 7893939 w 8489823"/>
              <a:gd name="connsiteY1" fmla="*/ 129540 h 129540"/>
              <a:gd name="connsiteX2" fmla="*/ 7766304 w 8489823"/>
              <a:gd name="connsiteY2" fmla="*/ 0 h 129540"/>
              <a:gd name="connsiteX3" fmla="*/ 7638288 w 8489823"/>
              <a:gd name="connsiteY3" fmla="*/ 128016 h 129540"/>
              <a:gd name="connsiteX4" fmla="*/ 0 w 8489823"/>
              <a:gd name="connsiteY4" fmla="*/ 128016 h 129540"/>
              <a:gd name="connsiteX0" fmla="*/ 8487918 w 8487918"/>
              <a:gd name="connsiteY0" fmla="*/ 131445 h 131445"/>
              <a:gd name="connsiteX1" fmla="*/ 7893939 w 8487918"/>
              <a:gd name="connsiteY1" fmla="*/ 129540 h 131445"/>
              <a:gd name="connsiteX2" fmla="*/ 7766304 w 8487918"/>
              <a:gd name="connsiteY2" fmla="*/ 0 h 131445"/>
              <a:gd name="connsiteX3" fmla="*/ 7638288 w 8487918"/>
              <a:gd name="connsiteY3" fmla="*/ 128016 h 131445"/>
              <a:gd name="connsiteX4" fmla="*/ 0 w 8487918"/>
              <a:gd name="connsiteY4" fmla="*/ 128016 h 131445"/>
              <a:gd name="connsiteX0" fmla="*/ 8487918 w 8487918"/>
              <a:gd name="connsiteY0" fmla="*/ 12763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7918 w 8487918"/>
              <a:gd name="connsiteY0" fmla="*/ 131445 h 131445"/>
              <a:gd name="connsiteX1" fmla="*/ 7893939 w 8487918"/>
              <a:gd name="connsiteY1" fmla="*/ 129540 h 131445"/>
              <a:gd name="connsiteX2" fmla="*/ 7766304 w 8487918"/>
              <a:gd name="connsiteY2" fmla="*/ 0 h 131445"/>
              <a:gd name="connsiteX3" fmla="*/ 7638288 w 8487918"/>
              <a:gd name="connsiteY3" fmla="*/ 128016 h 131445"/>
              <a:gd name="connsiteX4" fmla="*/ 0 w 8487918"/>
              <a:gd name="connsiteY4" fmla="*/ 128016 h 131445"/>
              <a:gd name="connsiteX0" fmla="*/ 8487918 w 8487918"/>
              <a:gd name="connsiteY0" fmla="*/ 125730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7918 w 8487918"/>
              <a:gd name="connsiteY0" fmla="*/ 12763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6013 w 8486013"/>
              <a:gd name="connsiteY0" fmla="*/ 127635 h 129540"/>
              <a:gd name="connsiteX1" fmla="*/ 7893939 w 8486013"/>
              <a:gd name="connsiteY1" fmla="*/ 129540 h 129540"/>
              <a:gd name="connsiteX2" fmla="*/ 7766304 w 8486013"/>
              <a:gd name="connsiteY2" fmla="*/ 0 h 129540"/>
              <a:gd name="connsiteX3" fmla="*/ 7638288 w 8486013"/>
              <a:gd name="connsiteY3" fmla="*/ 128016 h 129540"/>
              <a:gd name="connsiteX4" fmla="*/ 0 w 8486013"/>
              <a:gd name="connsiteY4" fmla="*/ 128016 h 129540"/>
              <a:gd name="connsiteX0" fmla="*/ 8493633 w 8493633"/>
              <a:gd name="connsiteY0" fmla="*/ 127635 h 129540"/>
              <a:gd name="connsiteX1" fmla="*/ 7893939 w 8493633"/>
              <a:gd name="connsiteY1" fmla="*/ 129540 h 129540"/>
              <a:gd name="connsiteX2" fmla="*/ 7766304 w 8493633"/>
              <a:gd name="connsiteY2" fmla="*/ 0 h 129540"/>
              <a:gd name="connsiteX3" fmla="*/ 7638288 w 8493633"/>
              <a:gd name="connsiteY3" fmla="*/ 128016 h 129540"/>
              <a:gd name="connsiteX4" fmla="*/ 0 w 8493633"/>
              <a:gd name="connsiteY4" fmla="*/ 128016 h 129540"/>
              <a:gd name="connsiteX0" fmla="*/ 8493633 w 8493633"/>
              <a:gd name="connsiteY0" fmla="*/ 133350 h 133350"/>
              <a:gd name="connsiteX1" fmla="*/ 7893939 w 8493633"/>
              <a:gd name="connsiteY1" fmla="*/ 129540 h 133350"/>
              <a:gd name="connsiteX2" fmla="*/ 7766304 w 8493633"/>
              <a:gd name="connsiteY2" fmla="*/ 0 h 133350"/>
              <a:gd name="connsiteX3" fmla="*/ 7638288 w 8493633"/>
              <a:gd name="connsiteY3" fmla="*/ 128016 h 133350"/>
              <a:gd name="connsiteX4" fmla="*/ 0 w 8493633"/>
              <a:gd name="connsiteY4" fmla="*/ 128016 h 133350"/>
              <a:gd name="connsiteX0" fmla="*/ 8487918 w 8487918"/>
              <a:gd name="connsiteY0" fmla="*/ 9334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91728 w 8491728"/>
              <a:gd name="connsiteY0" fmla="*/ 129540 h 129540"/>
              <a:gd name="connsiteX1" fmla="*/ 7893939 w 8491728"/>
              <a:gd name="connsiteY1" fmla="*/ 129540 h 129540"/>
              <a:gd name="connsiteX2" fmla="*/ 7766304 w 8491728"/>
              <a:gd name="connsiteY2" fmla="*/ 0 h 129540"/>
              <a:gd name="connsiteX3" fmla="*/ 7638288 w 8491728"/>
              <a:gd name="connsiteY3" fmla="*/ 128016 h 129540"/>
              <a:gd name="connsiteX4" fmla="*/ 0 w 8491728"/>
              <a:gd name="connsiteY4" fmla="*/ 128016 h 129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91728" h="129540">
                <a:moveTo>
                  <a:pt x="8491728" y="129540"/>
                </a:moveTo>
                <a:lnTo>
                  <a:pt x="7893939" y="129540"/>
                </a:lnTo>
                <a:lnTo>
                  <a:pt x="7766304" y="0"/>
                </a:lnTo>
                <a:lnTo>
                  <a:pt x="7638288" y="128016"/>
                </a:lnTo>
                <a:lnTo>
                  <a:pt x="0" y="128016"/>
                </a:lnTo>
              </a:path>
            </a:pathLst>
          </a:custGeom>
          <a:noFill/>
          <a:ln w="12700"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2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70551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94">
          <p15:clr>
            <a:srgbClr val="FBAE40"/>
          </p15:clr>
        </p15:guide>
        <p15:guide id="2" pos="2966">
          <p15:clr>
            <a:srgbClr val="FBAE40"/>
          </p15:clr>
        </p15:guide>
        <p15:guide id="3" orient="horz" pos="778">
          <p15:clr>
            <a:srgbClr val="FBAE40"/>
          </p15:clr>
        </p15:guide>
        <p15:guide id="6" orient="horz" pos="3859" userDrawn="1">
          <p15:clr>
            <a:srgbClr val="FBAE40"/>
          </p15:clr>
        </p15:guide>
        <p15:guide id="7" pos="202">
          <p15:clr>
            <a:srgbClr val="FBAE40"/>
          </p15:clr>
        </p15:guide>
        <p15:guide id="8" pos="5558">
          <p15:clr>
            <a:srgbClr val="FBAE40"/>
          </p15:clr>
        </p15:guide>
        <p15:guide id="9" orient="horz" pos="202">
          <p15:clr>
            <a:srgbClr val="FBAE40"/>
          </p15:clr>
        </p15:guide>
        <p15:guide id="10" orient="horz" pos="411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Nexus">
            <a:extLst>
              <a:ext uri="{FF2B5EF4-FFF2-40B4-BE49-F238E27FC236}">
                <a16:creationId xmlns:a16="http://schemas.microsoft.com/office/drawing/2014/main" id="{33431637-C0D1-4B47-84B3-62F7E91E67F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8278901" y="288612"/>
            <a:ext cx="640080" cy="64008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673" y="1235076"/>
            <a:ext cx="5576889" cy="1417320"/>
          </a:xfrm>
        </p:spPr>
        <p:txBody>
          <a:bodyPr anchor="b" anchorCtr="0"/>
          <a:lstStyle>
            <a:lvl1pPr>
              <a:defRPr sz="2800" spc="-20" baseline="0"/>
            </a:lvl1pPr>
          </a:lstStyle>
          <a:p>
            <a:r>
              <a:rPr lang="en-US" dirty="0"/>
              <a:t>[Section header title]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20675" y="2834640"/>
            <a:ext cx="5576888" cy="3291523"/>
          </a:xfrm>
        </p:spPr>
        <p:txBody>
          <a:bodyPr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tx1"/>
                </a:solidFill>
              </a:defRPr>
            </a:lvl1pPr>
            <a:lvl2pPr marL="173736" indent="-173736">
              <a:spcBef>
                <a:spcPts val="9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2pPr>
            <a:lvl3pPr marL="347472" indent="-173736">
              <a:spcBef>
                <a:spcPts val="300"/>
              </a:spcBef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3pPr>
            <a:lvl4pPr marL="512064" indent="-173736">
              <a:spcBef>
                <a:spcPts val="300"/>
              </a:spcBef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4pPr>
            <a:lvl5pPr marL="685800" indent="-173736">
              <a:spcBef>
                <a:spcPts val="300"/>
              </a:spcBef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5pPr>
            <a:lvl6pPr marL="859536" indent="-173736">
              <a:spcBef>
                <a:spcPts val="300"/>
              </a:spcBef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6pPr>
            <a:lvl7pPr marL="1024128" indent="-173736">
              <a:spcBef>
                <a:spcPts val="300"/>
              </a:spcBef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7pPr>
            <a:lvl8pPr marL="1197864" indent="-173736">
              <a:spcBef>
                <a:spcPts val="300"/>
              </a:spcBef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8pPr>
            <a:lvl9pPr marL="1371600" indent="-173736">
              <a:spcBef>
                <a:spcPts val="300"/>
              </a:spcBef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[Optional section description]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Footnotes">
            <a:extLst>
              <a:ext uri="{FF2B5EF4-FFF2-40B4-BE49-F238E27FC236}">
                <a16:creationId xmlns:a16="http://schemas.microsoft.com/office/drawing/2014/main" id="{4EC069BD-982E-8945-A8C0-52411391DEA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0674" y="6217920"/>
            <a:ext cx="5576889" cy="228638"/>
          </a:xfrm>
        </p:spPr>
        <p:txBody>
          <a:bodyPr anchor="b" anchorCtr="0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dirty="0"/>
              <a:t>[Footnotes/references if needed]</a:t>
            </a:r>
          </a:p>
        </p:txBody>
      </p:sp>
    </p:spTree>
    <p:extLst>
      <p:ext uri="{BB962C8B-B14F-4D97-AF65-F5344CB8AC3E}">
        <p14:creationId xmlns:p14="http://schemas.microsoft.com/office/powerpoint/2010/main" val="16706144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02" userDrawn="1">
          <p15:clr>
            <a:srgbClr val="FBAE40"/>
          </p15:clr>
        </p15:guide>
        <p15:guide id="3" orient="horz" pos="3859" userDrawn="1">
          <p15:clr>
            <a:srgbClr val="FBAE40"/>
          </p15:clr>
        </p15:guide>
        <p15:guide id="4" pos="3715" userDrawn="1">
          <p15:clr>
            <a:srgbClr val="FBAE40"/>
          </p15:clr>
        </p15:guide>
        <p15:guide id="5" orient="horz" pos="778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pic>
        <p:nvPicPr>
          <p:cNvPr id="12" name="Nexus">
            <a:extLst>
              <a:ext uri="{FF2B5EF4-FFF2-40B4-BE49-F238E27FC236}">
                <a16:creationId xmlns:a16="http://schemas.microsoft.com/office/drawing/2014/main" id="{A3770E65-52D4-46F5-A7CB-653372C5EA3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8278901" y="288612"/>
            <a:ext cx="640080" cy="640080"/>
          </a:xfrm>
          <a:prstGeom prst="rect">
            <a:avLst/>
          </a:prstGeom>
        </p:spPr>
      </p:pic>
      <p:sp>
        <p:nvSpPr>
          <p:cNvPr id="10" name="Footnotes">
            <a:extLst>
              <a:ext uri="{FF2B5EF4-FFF2-40B4-BE49-F238E27FC236}">
                <a16:creationId xmlns:a16="http://schemas.microsoft.com/office/drawing/2014/main" id="{BABA872A-AD0E-4145-8407-D52542A431BF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20674" y="6217920"/>
            <a:ext cx="8502649" cy="228638"/>
          </a:xfrm>
        </p:spPr>
        <p:txBody>
          <a:bodyPr anchor="b" anchorCtr="0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dirty="0"/>
              <a:t>[Footnotes/references if needed]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6DF014C0-274A-4558-91F9-5947215EAE2C}"/>
              </a:ext>
            </a:extLst>
          </p:cNvPr>
          <p:cNvSpPr/>
          <p:nvPr userDrawn="1"/>
        </p:nvSpPr>
        <p:spPr>
          <a:xfrm>
            <a:off x="323086" y="829818"/>
            <a:ext cx="8491728" cy="129540"/>
          </a:xfrm>
          <a:custGeom>
            <a:avLst/>
            <a:gdLst>
              <a:gd name="connsiteX0" fmla="*/ 8491728 w 8491728"/>
              <a:gd name="connsiteY0" fmla="*/ 121920 h 128016"/>
              <a:gd name="connsiteX1" fmla="*/ 7888224 w 8491728"/>
              <a:gd name="connsiteY1" fmla="*/ 121920 h 128016"/>
              <a:gd name="connsiteX2" fmla="*/ 7766304 w 8491728"/>
              <a:gd name="connsiteY2" fmla="*/ 0 h 128016"/>
              <a:gd name="connsiteX3" fmla="*/ 7638288 w 8491728"/>
              <a:gd name="connsiteY3" fmla="*/ 128016 h 128016"/>
              <a:gd name="connsiteX4" fmla="*/ 0 w 8491728"/>
              <a:gd name="connsiteY4" fmla="*/ 128016 h 128016"/>
              <a:gd name="connsiteX0" fmla="*/ 8491728 w 8491728"/>
              <a:gd name="connsiteY0" fmla="*/ 121920 h 129540"/>
              <a:gd name="connsiteX1" fmla="*/ 7893939 w 8491728"/>
              <a:gd name="connsiteY1" fmla="*/ 129540 h 129540"/>
              <a:gd name="connsiteX2" fmla="*/ 7766304 w 8491728"/>
              <a:gd name="connsiteY2" fmla="*/ 0 h 129540"/>
              <a:gd name="connsiteX3" fmla="*/ 7638288 w 8491728"/>
              <a:gd name="connsiteY3" fmla="*/ 128016 h 129540"/>
              <a:gd name="connsiteX4" fmla="*/ 0 w 8491728"/>
              <a:gd name="connsiteY4" fmla="*/ 128016 h 129540"/>
              <a:gd name="connsiteX0" fmla="*/ 8491728 w 8491728"/>
              <a:gd name="connsiteY0" fmla="*/ 133350 h 133350"/>
              <a:gd name="connsiteX1" fmla="*/ 7893939 w 8491728"/>
              <a:gd name="connsiteY1" fmla="*/ 129540 h 133350"/>
              <a:gd name="connsiteX2" fmla="*/ 7766304 w 8491728"/>
              <a:gd name="connsiteY2" fmla="*/ 0 h 133350"/>
              <a:gd name="connsiteX3" fmla="*/ 7638288 w 8491728"/>
              <a:gd name="connsiteY3" fmla="*/ 128016 h 133350"/>
              <a:gd name="connsiteX4" fmla="*/ 0 w 8491728"/>
              <a:gd name="connsiteY4" fmla="*/ 128016 h 133350"/>
              <a:gd name="connsiteX0" fmla="*/ 8489823 w 8489823"/>
              <a:gd name="connsiteY0" fmla="*/ 127635 h 129540"/>
              <a:gd name="connsiteX1" fmla="*/ 7893939 w 8489823"/>
              <a:gd name="connsiteY1" fmla="*/ 129540 h 129540"/>
              <a:gd name="connsiteX2" fmla="*/ 7766304 w 8489823"/>
              <a:gd name="connsiteY2" fmla="*/ 0 h 129540"/>
              <a:gd name="connsiteX3" fmla="*/ 7638288 w 8489823"/>
              <a:gd name="connsiteY3" fmla="*/ 128016 h 129540"/>
              <a:gd name="connsiteX4" fmla="*/ 0 w 8489823"/>
              <a:gd name="connsiteY4" fmla="*/ 128016 h 129540"/>
              <a:gd name="connsiteX0" fmla="*/ 8487918 w 8487918"/>
              <a:gd name="connsiteY0" fmla="*/ 131445 h 131445"/>
              <a:gd name="connsiteX1" fmla="*/ 7893939 w 8487918"/>
              <a:gd name="connsiteY1" fmla="*/ 129540 h 131445"/>
              <a:gd name="connsiteX2" fmla="*/ 7766304 w 8487918"/>
              <a:gd name="connsiteY2" fmla="*/ 0 h 131445"/>
              <a:gd name="connsiteX3" fmla="*/ 7638288 w 8487918"/>
              <a:gd name="connsiteY3" fmla="*/ 128016 h 131445"/>
              <a:gd name="connsiteX4" fmla="*/ 0 w 8487918"/>
              <a:gd name="connsiteY4" fmla="*/ 128016 h 131445"/>
              <a:gd name="connsiteX0" fmla="*/ 8487918 w 8487918"/>
              <a:gd name="connsiteY0" fmla="*/ 12763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7918 w 8487918"/>
              <a:gd name="connsiteY0" fmla="*/ 131445 h 131445"/>
              <a:gd name="connsiteX1" fmla="*/ 7893939 w 8487918"/>
              <a:gd name="connsiteY1" fmla="*/ 129540 h 131445"/>
              <a:gd name="connsiteX2" fmla="*/ 7766304 w 8487918"/>
              <a:gd name="connsiteY2" fmla="*/ 0 h 131445"/>
              <a:gd name="connsiteX3" fmla="*/ 7638288 w 8487918"/>
              <a:gd name="connsiteY3" fmla="*/ 128016 h 131445"/>
              <a:gd name="connsiteX4" fmla="*/ 0 w 8487918"/>
              <a:gd name="connsiteY4" fmla="*/ 128016 h 131445"/>
              <a:gd name="connsiteX0" fmla="*/ 8487918 w 8487918"/>
              <a:gd name="connsiteY0" fmla="*/ 125730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7918 w 8487918"/>
              <a:gd name="connsiteY0" fmla="*/ 12763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6013 w 8486013"/>
              <a:gd name="connsiteY0" fmla="*/ 127635 h 129540"/>
              <a:gd name="connsiteX1" fmla="*/ 7893939 w 8486013"/>
              <a:gd name="connsiteY1" fmla="*/ 129540 h 129540"/>
              <a:gd name="connsiteX2" fmla="*/ 7766304 w 8486013"/>
              <a:gd name="connsiteY2" fmla="*/ 0 h 129540"/>
              <a:gd name="connsiteX3" fmla="*/ 7638288 w 8486013"/>
              <a:gd name="connsiteY3" fmla="*/ 128016 h 129540"/>
              <a:gd name="connsiteX4" fmla="*/ 0 w 8486013"/>
              <a:gd name="connsiteY4" fmla="*/ 128016 h 129540"/>
              <a:gd name="connsiteX0" fmla="*/ 8493633 w 8493633"/>
              <a:gd name="connsiteY0" fmla="*/ 127635 h 129540"/>
              <a:gd name="connsiteX1" fmla="*/ 7893939 w 8493633"/>
              <a:gd name="connsiteY1" fmla="*/ 129540 h 129540"/>
              <a:gd name="connsiteX2" fmla="*/ 7766304 w 8493633"/>
              <a:gd name="connsiteY2" fmla="*/ 0 h 129540"/>
              <a:gd name="connsiteX3" fmla="*/ 7638288 w 8493633"/>
              <a:gd name="connsiteY3" fmla="*/ 128016 h 129540"/>
              <a:gd name="connsiteX4" fmla="*/ 0 w 8493633"/>
              <a:gd name="connsiteY4" fmla="*/ 128016 h 129540"/>
              <a:gd name="connsiteX0" fmla="*/ 8493633 w 8493633"/>
              <a:gd name="connsiteY0" fmla="*/ 133350 h 133350"/>
              <a:gd name="connsiteX1" fmla="*/ 7893939 w 8493633"/>
              <a:gd name="connsiteY1" fmla="*/ 129540 h 133350"/>
              <a:gd name="connsiteX2" fmla="*/ 7766304 w 8493633"/>
              <a:gd name="connsiteY2" fmla="*/ 0 h 133350"/>
              <a:gd name="connsiteX3" fmla="*/ 7638288 w 8493633"/>
              <a:gd name="connsiteY3" fmla="*/ 128016 h 133350"/>
              <a:gd name="connsiteX4" fmla="*/ 0 w 8493633"/>
              <a:gd name="connsiteY4" fmla="*/ 128016 h 133350"/>
              <a:gd name="connsiteX0" fmla="*/ 8487918 w 8487918"/>
              <a:gd name="connsiteY0" fmla="*/ 9334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91728 w 8491728"/>
              <a:gd name="connsiteY0" fmla="*/ 129540 h 129540"/>
              <a:gd name="connsiteX1" fmla="*/ 7893939 w 8491728"/>
              <a:gd name="connsiteY1" fmla="*/ 129540 h 129540"/>
              <a:gd name="connsiteX2" fmla="*/ 7766304 w 8491728"/>
              <a:gd name="connsiteY2" fmla="*/ 0 h 129540"/>
              <a:gd name="connsiteX3" fmla="*/ 7638288 w 8491728"/>
              <a:gd name="connsiteY3" fmla="*/ 128016 h 129540"/>
              <a:gd name="connsiteX4" fmla="*/ 0 w 8491728"/>
              <a:gd name="connsiteY4" fmla="*/ 128016 h 129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91728" h="129540">
                <a:moveTo>
                  <a:pt x="8491728" y="129540"/>
                </a:moveTo>
                <a:lnTo>
                  <a:pt x="7893939" y="129540"/>
                </a:lnTo>
                <a:lnTo>
                  <a:pt x="7766304" y="0"/>
                </a:lnTo>
                <a:lnTo>
                  <a:pt x="7638288" y="128016"/>
                </a:lnTo>
                <a:lnTo>
                  <a:pt x="0" y="128016"/>
                </a:lnTo>
              </a:path>
            </a:pathLst>
          </a:custGeom>
          <a:noFill/>
          <a:ln w="12700"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2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88783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8" userDrawn="1">
          <p15:clr>
            <a:srgbClr val="FBAE40"/>
          </p15:clr>
        </p15:guide>
        <p15:guide id="3" orient="horz" pos="3859" userDrawn="1">
          <p15:clr>
            <a:srgbClr val="FBAE40"/>
          </p15:clr>
        </p15:guide>
        <p15:guide id="4" pos="202" userDrawn="1">
          <p15:clr>
            <a:srgbClr val="FBAE40"/>
          </p15:clr>
        </p15:guide>
        <p15:guide id="5" pos="5558" userDrawn="1">
          <p15:clr>
            <a:srgbClr val="FBAE40"/>
          </p15:clr>
        </p15:guide>
        <p15:guide id="6" orient="horz" pos="202" userDrawn="1">
          <p15:clr>
            <a:srgbClr val="FBAE40"/>
          </p15:clr>
        </p15:guide>
        <p15:guide id="7" orient="horz" pos="4118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notes">
            <a:extLst>
              <a:ext uri="{FF2B5EF4-FFF2-40B4-BE49-F238E27FC236}">
                <a16:creationId xmlns:a16="http://schemas.microsoft.com/office/drawing/2014/main" id="{B7090F6C-19A1-D04B-8FB2-ACE685A2D3B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0674" y="6217920"/>
            <a:ext cx="8502649" cy="228638"/>
          </a:xfrm>
        </p:spPr>
        <p:txBody>
          <a:bodyPr anchor="b" anchorCtr="0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dirty="0"/>
              <a:t>[Footnotes/references if needed]</a:t>
            </a:r>
          </a:p>
        </p:txBody>
      </p:sp>
    </p:spTree>
    <p:extLst>
      <p:ext uri="{BB962C8B-B14F-4D97-AF65-F5344CB8AC3E}">
        <p14:creationId xmlns:p14="http://schemas.microsoft.com/office/powerpoint/2010/main" val="1031324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8" userDrawn="1">
          <p15:clr>
            <a:srgbClr val="FBAE40"/>
          </p15:clr>
        </p15:guide>
        <p15:guide id="3" orient="horz" pos="3859" userDrawn="1">
          <p15:clr>
            <a:srgbClr val="FBAE40"/>
          </p15:clr>
        </p15:guide>
        <p15:guide id="4" pos="202" userDrawn="1">
          <p15:clr>
            <a:srgbClr val="FBAE40"/>
          </p15:clr>
        </p15:guide>
        <p15:guide id="5" pos="5558" userDrawn="1">
          <p15:clr>
            <a:srgbClr val="FBAE40"/>
          </p15:clr>
        </p15:guide>
        <p15:guide id="6" orient="horz" pos="202" userDrawn="1">
          <p15:clr>
            <a:srgbClr val="FBAE40"/>
          </p15:clr>
        </p15:guide>
        <p15:guide id="7" orient="horz" pos="4118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L3Harris" descr="L3Harris">
            <a:extLst>
              <a:ext uri="{FF2B5EF4-FFF2-40B4-BE49-F238E27FC236}">
                <a16:creationId xmlns:a16="http://schemas.microsoft.com/office/drawing/2014/main" id="{B55BF19D-91FC-CB4A-B45D-6630D5B6D94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228600" y="2973704"/>
            <a:ext cx="1889760" cy="548640"/>
          </a:xfrm>
          <a:prstGeom prst="rect">
            <a:avLst/>
          </a:prstGeom>
        </p:spPr>
      </p:pic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CA1001FB-EEF8-734A-A438-C645E53610E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0676" y="5623560"/>
            <a:ext cx="4114800" cy="918551"/>
          </a:xfrm>
        </p:spPr>
        <p:txBody>
          <a:bodyPr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000"/>
            </a:lvl1pPr>
            <a:lvl2pPr marL="0" indent="0">
              <a:spcBef>
                <a:spcPts val="0"/>
              </a:spcBef>
              <a:buFontTx/>
              <a:buNone/>
              <a:defRPr sz="1000"/>
            </a:lvl2pPr>
            <a:lvl3pPr marL="0" indent="0">
              <a:spcBef>
                <a:spcPts val="0"/>
              </a:spcBef>
              <a:buFontTx/>
              <a:buNone/>
              <a:defRPr sz="1000"/>
            </a:lvl3pPr>
            <a:lvl4pPr marL="0" indent="0">
              <a:spcBef>
                <a:spcPts val="0"/>
              </a:spcBef>
              <a:buFontTx/>
              <a:buNone/>
              <a:defRPr sz="1000"/>
            </a:lvl4pPr>
            <a:lvl5pPr marL="0" indent="0">
              <a:spcBef>
                <a:spcPts val="0"/>
              </a:spcBef>
              <a:buFontTx/>
              <a:buNone/>
              <a:defRPr sz="1000"/>
            </a:lvl5pPr>
            <a:lvl6pPr marL="0" indent="0">
              <a:spcBef>
                <a:spcPts val="0"/>
              </a:spcBef>
              <a:buFontTx/>
              <a:buNone/>
              <a:defRPr sz="1000"/>
            </a:lvl6pPr>
            <a:lvl7pPr marL="0" indent="0">
              <a:spcBef>
                <a:spcPts val="0"/>
              </a:spcBef>
              <a:buFontTx/>
              <a:buNone/>
              <a:defRPr sz="1000"/>
            </a:lvl7pPr>
            <a:lvl8pPr marL="0" indent="0">
              <a:spcBef>
                <a:spcPts val="0"/>
              </a:spcBef>
              <a:buFontTx/>
              <a:buNone/>
              <a:defRPr sz="1000"/>
            </a:lvl8pPr>
            <a:lvl9pPr marL="0" indent="0">
              <a:spcBef>
                <a:spcPts val="0"/>
              </a:spcBef>
              <a:buFontTx/>
              <a:buNone/>
              <a:defRPr sz="1000"/>
            </a:lvl9pPr>
          </a:lstStyle>
          <a:p>
            <a:pPr lvl="0"/>
            <a:r>
              <a:rPr lang="en-US" dirty="0"/>
              <a:t>[Optional contact information]</a:t>
            </a:r>
          </a:p>
        </p:txBody>
      </p:sp>
    </p:spTree>
    <p:extLst>
      <p:ext uri="{BB962C8B-B14F-4D97-AF65-F5344CB8AC3E}">
        <p14:creationId xmlns:p14="http://schemas.microsoft.com/office/powerpoint/2010/main" val="12897987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2" userDrawn="1">
          <p15:clr>
            <a:srgbClr val="FBAE40"/>
          </p15:clr>
        </p15:guide>
        <p15:guide id="2" pos="2794" userDrawn="1">
          <p15:clr>
            <a:srgbClr val="FBAE40"/>
          </p15:clr>
        </p15:guide>
        <p15:guide id="3" orient="horz" pos="4118" userDrawn="1">
          <p15:clr>
            <a:srgbClr val="FBAE40"/>
          </p15:clr>
        </p15:guide>
        <p15:guide id="4" orient="horz" pos="202" userDrawn="1">
          <p15:clr>
            <a:srgbClr val="FBAE40"/>
          </p15:clr>
        </p15:guide>
        <p15:guide id="5" pos="5558" userDrawn="1">
          <p15:clr>
            <a:srgbClr val="FBAE40"/>
          </p15:clr>
        </p15:guide>
        <p15:guide id="6" pos="2966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ceholder Picture">
            <a:extLst>
              <a:ext uri="{FF2B5EF4-FFF2-40B4-BE49-F238E27FC236}">
                <a16:creationId xmlns:a16="http://schemas.microsoft.com/office/drawing/2014/main" id="{0E25DE3D-1ED2-4149-B665-3550F17281DB}"/>
              </a:ext>
            </a:extLst>
          </p:cNvPr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tIns="91440" bIns="3200400" rtlCol="0" anchor="ctr"/>
          <a:lstStyle/>
          <a:p>
            <a:pPr algn="ctr">
              <a:lnSpc>
                <a:spcPct val="100000"/>
              </a:lnSpc>
            </a:pPr>
            <a:r>
              <a:rPr lang="en-US" sz="1000" dirty="0">
                <a:solidFill>
                  <a:schemeClr val="tx1"/>
                </a:solidFill>
              </a:rPr>
              <a:t>PLACEHOLDER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PICTURE</a:t>
            </a:r>
          </a:p>
        </p:txBody>
      </p:sp>
      <p:sp>
        <p:nvSpPr>
          <p:cNvPr id="8" name="Tab">
            <a:extLst>
              <a:ext uri="{FF2B5EF4-FFF2-40B4-BE49-F238E27FC236}">
                <a16:creationId xmlns:a16="http://schemas.microsoft.com/office/drawing/2014/main" id="{DAC3438F-8C87-4734-A162-4FF15BAEADBC}"/>
              </a:ext>
            </a:extLst>
          </p:cNvPr>
          <p:cNvSpPr>
            <a:spLocks/>
          </p:cNvSpPr>
          <p:nvPr userDrawn="1"/>
        </p:nvSpPr>
        <p:spPr bwMode="gray">
          <a:xfrm>
            <a:off x="228600" y="2880798"/>
            <a:ext cx="4343400" cy="3747806"/>
          </a:xfrm>
          <a:custGeom>
            <a:avLst/>
            <a:gdLst>
              <a:gd name="T0" fmla="*/ 0 w 4559"/>
              <a:gd name="T1" fmla="*/ 0 h 3935"/>
              <a:gd name="T2" fmla="*/ 0 w 4559"/>
              <a:gd name="T3" fmla="*/ 0 h 3935"/>
              <a:gd name="T4" fmla="*/ 0 w 4559"/>
              <a:gd name="T5" fmla="*/ 3935 h 3935"/>
              <a:gd name="T6" fmla="*/ 4559 w 4559"/>
              <a:gd name="T7" fmla="*/ 3935 h 3935"/>
              <a:gd name="T8" fmla="*/ 4559 w 4559"/>
              <a:gd name="T9" fmla="*/ 575 h 3935"/>
              <a:gd name="T10" fmla="*/ 2279 w 4559"/>
              <a:gd name="T11" fmla="*/ 575 h 3935"/>
              <a:gd name="T12" fmla="*/ 2279 w 4559"/>
              <a:gd name="T13" fmla="*/ 0 h 3935"/>
              <a:gd name="T14" fmla="*/ 0 w 4559"/>
              <a:gd name="T15" fmla="*/ 0 h 39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559" h="3935">
                <a:moveTo>
                  <a:pt x="0" y="0"/>
                </a:moveTo>
                <a:lnTo>
                  <a:pt x="0" y="0"/>
                </a:lnTo>
                <a:lnTo>
                  <a:pt x="0" y="3935"/>
                </a:lnTo>
                <a:lnTo>
                  <a:pt x="4559" y="3935"/>
                </a:lnTo>
                <a:lnTo>
                  <a:pt x="4559" y="575"/>
                </a:lnTo>
                <a:lnTo>
                  <a:pt x="2279" y="575"/>
                </a:lnTo>
                <a:lnTo>
                  <a:pt x="2279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0" name="L3Harris" descr="L3Harris">
            <a:extLst>
              <a:ext uri="{FF2B5EF4-FFF2-40B4-BE49-F238E27FC236}">
                <a16:creationId xmlns:a16="http://schemas.microsoft.com/office/drawing/2014/main" id="{92F2AA8C-9CDD-314B-9204-1A4219B1ED7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365760" y="2973704"/>
            <a:ext cx="1889760" cy="54864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3749040"/>
            <a:ext cx="3884646" cy="1188719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2400" u="sng" cap="all" spc="0" baseline="0">
                <a:uFill>
                  <a:solidFill>
                    <a:schemeClr val="tx2"/>
                  </a:solidFill>
                </a:uFill>
              </a:defRPr>
            </a:lvl1pPr>
          </a:lstStyle>
          <a:p>
            <a:r>
              <a:rPr lang="en-US" dirty="0"/>
              <a:t>[PRESENTATION TITLE]</a:t>
            </a:r>
          </a:p>
        </p:txBody>
      </p:sp>
      <p:cxnSp>
        <p:nvCxnSpPr>
          <p:cNvPr id="22" name="Line">
            <a:extLst>
              <a:ext uri="{FF2B5EF4-FFF2-40B4-BE49-F238E27FC236}">
                <a16:creationId xmlns:a16="http://schemas.microsoft.com/office/drawing/2014/main" id="{C8B36AE3-5825-0C49-9DF7-6B4F9BC2BFCE}"/>
              </a:ext>
            </a:extLst>
          </p:cNvPr>
          <p:cNvCxnSpPr>
            <a:cxnSpLocks/>
          </p:cNvCxnSpPr>
          <p:nvPr userDrawn="1"/>
        </p:nvCxnSpPr>
        <p:spPr>
          <a:xfrm>
            <a:off x="454025" y="5166360"/>
            <a:ext cx="3887820" cy="0"/>
          </a:xfrm>
          <a:prstGeom prst="line">
            <a:avLst/>
          </a:prstGeom>
          <a:ln w="3175">
            <a:solidFill>
              <a:srgbClr val="1724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BB78CC0-912E-DF47-B0F7-EA50C61D86E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199" y="5303520"/>
            <a:ext cx="3884646" cy="27432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1200" b="1"/>
            </a:lvl1pPr>
            <a:lvl2pPr marL="0" indent="0">
              <a:spcBef>
                <a:spcPts val="0"/>
              </a:spcBef>
              <a:buFontTx/>
              <a:buNone/>
              <a:defRPr sz="1200" b="1"/>
            </a:lvl2pPr>
            <a:lvl3pPr marL="0" indent="0">
              <a:spcBef>
                <a:spcPts val="0"/>
              </a:spcBef>
              <a:buFontTx/>
              <a:buNone/>
              <a:defRPr sz="1200" b="1"/>
            </a:lvl3pPr>
            <a:lvl4pPr marL="0" indent="0">
              <a:spcBef>
                <a:spcPts val="0"/>
              </a:spcBef>
              <a:buFontTx/>
              <a:buNone/>
              <a:defRPr sz="1200" b="1"/>
            </a:lvl4pPr>
            <a:lvl5pPr marL="0" indent="0">
              <a:spcBef>
                <a:spcPts val="0"/>
              </a:spcBef>
              <a:buFontTx/>
              <a:buNone/>
              <a:defRPr sz="1200" b="1"/>
            </a:lvl5pPr>
            <a:lvl6pPr marL="0" indent="0">
              <a:spcBef>
                <a:spcPts val="0"/>
              </a:spcBef>
              <a:buFontTx/>
              <a:buNone/>
              <a:defRPr sz="1200" b="1"/>
            </a:lvl6pPr>
            <a:lvl7pPr marL="0" indent="0">
              <a:spcBef>
                <a:spcPts val="0"/>
              </a:spcBef>
              <a:buFontTx/>
              <a:buNone/>
              <a:defRPr sz="1200" b="1"/>
            </a:lvl7pPr>
            <a:lvl8pPr marL="0" indent="0">
              <a:spcBef>
                <a:spcPts val="0"/>
              </a:spcBef>
              <a:buFontTx/>
              <a:buNone/>
              <a:defRPr sz="1200" b="1"/>
            </a:lvl8pPr>
            <a:lvl9pPr marL="0" indent="0">
              <a:spcBef>
                <a:spcPts val="0"/>
              </a:spcBef>
              <a:buFontTx/>
              <a:buNone/>
              <a:defRPr sz="1200" b="1"/>
            </a:lvl9pPr>
          </a:lstStyle>
          <a:p>
            <a:pPr lvl="0"/>
            <a:r>
              <a:rPr lang="en-US" dirty="0"/>
              <a:t>[Month 00, 0000]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FABA091C-0833-1E47-B8DB-6AC39E7E3B3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8" y="5715000"/>
            <a:ext cx="3884645" cy="685800"/>
          </a:xfrm>
        </p:spPr>
        <p:txBody>
          <a:bodyPr>
            <a:normAutofit/>
          </a:bodyPr>
          <a:lstStyle>
            <a:lvl1pPr marL="0" indent="0">
              <a:spcBef>
                <a:spcPts val="300"/>
              </a:spcBef>
              <a:buFontTx/>
              <a:buNone/>
              <a:defRPr sz="1200" b="1"/>
            </a:lvl1pPr>
            <a:lvl2pPr marL="0" indent="0">
              <a:spcBef>
                <a:spcPts val="300"/>
              </a:spcBef>
              <a:buFontTx/>
              <a:buNone/>
              <a:defRPr sz="1200" b="0"/>
            </a:lvl2pPr>
            <a:lvl3pPr marL="0" indent="0">
              <a:spcBef>
                <a:spcPts val="300"/>
              </a:spcBef>
              <a:buFontTx/>
              <a:buNone/>
              <a:defRPr sz="1200" b="0"/>
            </a:lvl3pPr>
            <a:lvl4pPr marL="0" indent="0">
              <a:spcBef>
                <a:spcPts val="300"/>
              </a:spcBef>
              <a:buFontTx/>
              <a:buNone/>
              <a:defRPr sz="1200" b="0"/>
            </a:lvl4pPr>
            <a:lvl5pPr marL="0" indent="0">
              <a:spcBef>
                <a:spcPts val="300"/>
              </a:spcBef>
              <a:buFontTx/>
              <a:buNone/>
              <a:defRPr sz="1200" b="0"/>
            </a:lvl5pPr>
            <a:lvl6pPr marL="0" indent="0">
              <a:spcBef>
                <a:spcPts val="300"/>
              </a:spcBef>
              <a:buFontTx/>
              <a:buNone/>
              <a:defRPr sz="1200" b="0"/>
            </a:lvl6pPr>
            <a:lvl7pPr marL="0" indent="0">
              <a:spcBef>
                <a:spcPts val="300"/>
              </a:spcBef>
              <a:buFontTx/>
              <a:buNone/>
              <a:defRPr sz="1200" b="0"/>
            </a:lvl7pPr>
            <a:lvl8pPr marL="0" indent="0">
              <a:spcBef>
                <a:spcPts val="300"/>
              </a:spcBef>
              <a:buFontTx/>
              <a:buNone/>
              <a:defRPr sz="1200" b="0"/>
            </a:lvl8pPr>
            <a:lvl9pPr marL="0" indent="0">
              <a:spcBef>
                <a:spcPts val="300"/>
              </a:spcBef>
              <a:buFontTx/>
              <a:buNone/>
              <a:defRPr sz="1200" b="0"/>
            </a:lvl9pPr>
          </a:lstStyle>
          <a:p>
            <a:pPr lvl="0"/>
            <a:r>
              <a:rPr lang="en-US" dirty="0"/>
              <a:t>[PRESENTER NAME] | [Presenter Title]</a:t>
            </a:r>
          </a:p>
        </p:txBody>
      </p:sp>
    </p:spTree>
    <p:extLst>
      <p:ext uri="{BB962C8B-B14F-4D97-AF65-F5344CB8AC3E}">
        <p14:creationId xmlns:p14="http://schemas.microsoft.com/office/powerpoint/2010/main" val="2182793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">
          <p15:clr>
            <a:srgbClr val="FBAE40"/>
          </p15:clr>
        </p15:guide>
        <p15:guide id="3" pos="5472">
          <p15:clr>
            <a:srgbClr val="FBAE40"/>
          </p15:clr>
        </p15:guide>
        <p15:guide id="4" orient="horz" pos="3744">
          <p15:clr>
            <a:srgbClr val="FBAE40"/>
          </p15:clr>
        </p15:guide>
        <p15:guide id="6" orient="horz" pos="4118">
          <p15:clr>
            <a:srgbClr val="FBAE40"/>
          </p15:clr>
        </p15:guide>
        <p15:guide id="9" pos="288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F22AE9-2CA0-45CA-9FBA-0FDF11700D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pic>
        <p:nvPicPr>
          <p:cNvPr id="15" name="Nexus">
            <a:extLst>
              <a:ext uri="{FF2B5EF4-FFF2-40B4-BE49-F238E27FC236}">
                <a16:creationId xmlns:a16="http://schemas.microsoft.com/office/drawing/2014/main" id="{52204DDE-1CFF-4147-9C4B-3B789029E6B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8278901" y="288612"/>
            <a:ext cx="640080" cy="64008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 userDrawn="1">
            <p:ph idx="1"/>
          </p:nvPr>
        </p:nvSpPr>
        <p:spPr>
          <a:xfrm>
            <a:off x="320675" y="1235075"/>
            <a:ext cx="8502650" cy="4891087"/>
          </a:xfrm>
        </p:spPr>
        <p:txBody>
          <a:bodyPr numCol="2">
            <a:normAutofit/>
          </a:bodyPr>
          <a:lstStyle>
            <a:lvl1pPr marL="0" indent="0">
              <a:spcBef>
                <a:spcPts val="1200"/>
              </a:spcBef>
              <a:buFontTx/>
              <a:buNone/>
              <a:tabLst>
                <a:tab pos="4113213" algn="r"/>
              </a:tabLst>
              <a:defRPr sz="1600" b="1"/>
            </a:lvl1pPr>
            <a:lvl2pPr marL="0" indent="0">
              <a:spcBef>
                <a:spcPts val="300"/>
              </a:spcBef>
              <a:buFontTx/>
              <a:buNone/>
              <a:tabLst>
                <a:tab pos="4113213" algn="r"/>
              </a:tabLst>
              <a:defRPr sz="1600"/>
            </a:lvl2pPr>
            <a:lvl3pPr marL="0" indent="0">
              <a:spcBef>
                <a:spcPts val="300"/>
              </a:spcBef>
              <a:buFontTx/>
              <a:buNone/>
              <a:tabLst>
                <a:tab pos="4113213" algn="r"/>
              </a:tabLst>
              <a:defRPr sz="1600"/>
            </a:lvl3pPr>
            <a:lvl4pPr marL="0" indent="0">
              <a:spcBef>
                <a:spcPts val="300"/>
              </a:spcBef>
              <a:buFontTx/>
              <a:buNone/>
              <a:tabLst>
                <a:tab pos="4113213" algn="r"/>
              </a:tabLst>
              <a:defRPr sz="1600"/>
            </a:lvl4pPr>
            <a:lvl5pPr marL="0" indent="0">
              <a:spcBef>
                <a:spcPts val="300"/>
              </a:spcBef>
              <a:buFontTx/>
              <a:buNone/>
              <a:tabLst>
                <a:tab pos="4113213" algn="r"/>
              </a:tabLst>
              <a:defRPr sz="1600"/>
            </a:lvl5pPr>
            <a:lvl6pPr marL="0" indent="0">
              <a:spcBef>
                <a:spcPts val="300"/>
              </a:spcBef>
              <a:buFontTx/>
              <a:buNone/>
              <a:tabLst>
                <a:tab pos="4113213" algn="r"/>
              </a:tabLst>
              <a:defRPr sz="1600"/>
            </a:lvl6pPr>
            <a:lvl7pPr marL="0" indent="0">
              <a:spcBef>
                <a:spcPts val="300"/>
              </a:spcBef>
              <a:buFontTx/>
              <a:buNone/>
              <a:tabLst>
                <a:tab pos="4113213" algn="r"/>
              </a:tabLst>
              <a:defRPr sz="1600"/>
            </a:lvl7pPr>
            <a:lvl8pPr marL="0" indent="0">
              <a:spcBef>
                <a:spcPts val="300"/>
              </a:spcBef>
              <a:buFontTx/>
              <a:buNone/>
              <a:tabLst>
                <a:tab pos="4113213" algn="r"/>
              </a:tabLst>
              <a:defRPr sz="1600"/>
            </a:lvl8pPr>
            <a:lvl9pPr marL="0" indent="0">
              <a:spcBef>
                <a:spcPts val="300"/>
              </a:spcBef>
              <a:buFontTx/>
              <a:buNone/>
              <a:tabLst>
                <a:tab pos="4113213" algn="r"/>
              </a:tabLst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Footnotes">
            <a:extLst>
              <a:ext uri="{FF2B5EF4-FFF2-40B4-BE49-F238E27FC236}">
                <a16:creationId xmlns:a16="http://schemas.microsoft.com/office/drawing/2014/main" id="{1B386CFA-E55D-6041-A2A0-FE3335184911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20674" y="6217920"/>
            <a:ext cx="8502649" cy="228638"/>
          </a:xfrm>
        </p:spPr>
        <p:txBody>
          <a:bodyPr anchor="b" anchorCtr="0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dirty="0"/>
              <a:t>[Footnotes/references if needed]</a:t>
            </a: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1EB879EB-E186-4B07-BB09-79749E6E5598}"/>
              </a:ext>
            </a:extLst>
          </p:cNvPr>
          <p:cNvSpPr/>
          <p:nvPr userDrawn="1"/>
        </p:nvSpPr>
        <p:spPr>
          <a:xfrm>
            <a:off x="323086" y="829818"/>
            <a:ext cx="8491728" cy="129540"/>
          </a:xfrm>
          <a:custGeom>
            <a:avLst/>
            <a:gdLst>
              <a:gd name="connsiteX0" fmla="*/ 8491728 w 8491728"/>
              <a:gd name="connsiteY0" fmla="*/ 121920 h 128016"/>
              <a:gd name="connsiteX1" fmla="*/ 7888224 w 8491728"/>
              <a:gd name="connsiteY1" fmla="*/ 121920 h 128016"/>
              <a:gd name="connsiteX2" fmla="*/ 7766304 w 8491728"/>
              <a:gd name="connsiteY2" fmla="*/ 0 h 128016"/>
              <a:gd name="connsiteX3" fmla="*/ 7638288 w 8491728"/>
              <a:gd name="connsiteY3" fmla="*/ 128016 h 128016"/>
              <a:gd name="connsiteX4" fmla="*/ 0 w 8491728"/>
              <a:gd name="connsiteY4" fmla="*/ 128016 h 128016"/>
              <a:gd name="connsiteX0" fmla="*/ 8491728 w 8491728"/>
              <a:gd name="connsiteY0" fmla="*/ 121920 h 129540"/>
              <a:gd name="connsiteX1" fmla="*/ 7893939 w 8491728"/>
              <a:gd name="connsiteY1" fmla="*/ 129540 h 129540"/>
              <a:gd name="connsiteX2" fmla="*/ 7766304 w 8491728"/>
              <a:gd name="connsiteY2" fmla="*/ 0 h 129540"/>
              <a:gd name="connsiteX3" fmla="*/ 7638288 w 8491728"/>
              <a:gd name="connsiteY3" fmla="*/ 128016 h 129540"/>
              <a:gd name="connsiteX4" fmla="*/ 0 w 8491728"/>
              <a:gd name="connsiteY4" fmla="*/ 128016 h 129540"/>
              <a:gd name="connsiteX0" fmla="*/ 8491728 w 8491728"/>
              <a:gd name="connsiteY0" fmla="*/ 133350 h 133350"/>
              <a:gd name="connsiteX1" fmla="*/ 7893939 w 8491728"/>
              <a:gd name="connsiteY1" fmla="*/ 129540 h 133350"/>
              <a:gd name="connsiteX2" fmla="*/ 7766304 w 8491728"/>
              <a:gd name="connsiteY2" fmla="*/ 0 h 133350"/>
              <a:gd name="connsiteX3" fmla="*/ 7638288 w 8491728"/>
              <a:gd name="connsiteY3" fmla="*/ 128016 h 133350"/>
              <a:gd name="connsiteX4" fmla="*/ 0 w 8491728"/>
              <a:gd name="connsiteY4" fmla="*/ 128016 h 133350"/>
              <a:gd name="connsiteX0" fmla="*/ 8489823 w 8489823"/>
              <a:gd name="connsiteY0" fmla="*/ 127635 h 129540"/>
              <a:gd name="connsiteX1" fmla="*/ 7893939 w 8489823"/>
              <a:gd name="connsiteY1" fmla="*/ 129540 h 129540"/>
              <a:gd name="connsiteX2" fmla="*/ 7766304 w 8489823"/>
              <a:gd name="connsiteY2" fmla="*/ 0 h 129540"/>
              <a:gd name="connsiteX3" fmla="*/ 7638288 w 8489823"/>
              <a:gd name="connsiteY3" fmla="*/ 128016 h 129540"/>
              <a:gd name="connsiteX4" fmla="*/ 0 w 8489823"/>
              <a:gd name="connsiteY4" fmla="*/ 128016 h 129540"/>
              <a:gd name="connsiteX0" fmla="*/ 8487918 w 8487918"/>
              <a:gd name="connsiteY0" fmla="*/ 131445 h 131445"/>
              <a:gd name="connsiteX1" fmla="*/ 7893939 w 8487918"/>
              <a:gd name="connsiteY1" fmla="*/ 129540 h 131445"/>
              <a:gd name="connsiteX2" fmla="*/ 7766304 w 8487918"/>
              <a:gd name="connsiteY2" fmla="*/ 0 h 131445"/>
              <a:gd name="connsiteX3" fmla="*/ 7638288 w 8487918"/>
              <a:gd name="connsiteY3" fmla="*/ 128016 h 131445"/>
              <a:gd name="connsiteX4" fmla="*/ 0 w 8487918"/>
              <a:gd name="connsiteY4" fmla="*/ 128016 h 131445"/>
              <a:gd name="connsiteX0" fmla="*/ 8487918 w 8487918"/>
              <a:gd name="connsiteY0" fmla="*/ 12763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7918 w 8487918"/>
              <a:gd name="connsiteY0" fmla="*/ 131445 h 131445"/>
              <a:gd name="connsiteX1" fmla="*/ 7893939 w 8487918"/>
              <a:gd name="connsiteY1" fmla="*/ 129540 h 131445"/>
              <a:gd name="connsiteX2" fmla="*/ 7766304 w 8487918"/>
              <a:gd name="connsiteY2" fmla="*/ 0 h 131445"/>
              <a:gd name="connsiteX3" fmla="*/ 7638288 w 8487918"/>
              <a:gd name="connsiteY3" fmla="*/ 128016 h 131445"/>
              <a:gd name="connsiteX4" fmla="*/ 0 w 8487918"/>
              <a:gd name="connsiteY4" fmla="*/ 128016 h 131445"/>
              <a:gd name="connsiteX0" fmla="*/ 8487918 w 8487918"/>
              <a:gd name="connsiteY0" fmla="*/ 125730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7918 w 8487918"/>
              <a:gd name="connsiteY0" fmla="*/ 12763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6013 w 8486013"/>
              <a:gd name="connsiteY0" fmla="*/ 127635 h 129540"/>
              <a:gd name="connsiteX1" fmla="*/ 7893939 w 8486013"/>
              <a:gd name="connsiteY1" fmla="*/ 129540 h 129540"/>
              <a:gd name="connsiteX2" fmla="*/ 7766304 w 8486013"/>
              <a:gd name="connsiteY2" fmla="*/ 0 h 129540"/>
              <a:gd name="connsiteX3" fmla="*/ 7638288 w 8486013"/>
              <a:gd name="connsiteY3" fmla="*/ 128016 h 129540"/>
              <a:gd name="connsiteX4" fmla="*/ 0 w 8486013"/>
              <a:gd name="connsiteY4" fmla="*/ 128016 h 129540"/>
              <a:gd name="connsiteX0" fmla="*/ 8493633 w 8493633"/>
              <a:gd name="connsiteY0" fmla="*/ 127635 h 129540"/>
              <a:gd name="connsiteX1" fmla="*/ 7893939 w 8493633"/>
              <a:gd name="connsiteY1" fmla="*/ 129540 h 129540"/>
              <a:gd name="connsiteX2" fmla="*/ 7766304 w 8493633"/>
              <a:gd name="connsiteY2" fmla="*/ 0 h 129540"/>
              <a:gd name="connsiteX3" fmla="*/ 7638288 w 8493633"/>
              <a:gd name="connsiteY3" fmla="*/ 128016 h 129540"/>
              <a:gd name="connsiteX4" fmla="*/ 0 w 8493633"/>
              <a:gd name="connsiteY4" fmla="*/ 128016 h 129540"/>
              <a:gd name="connsiteX0" fmla="*/ 8493633 w 8493633"/>
              <a:gd name="connsiteY0" fmla="*/ 133350 h 133350"/>
              <a:gd name="connsiteX1" fmla="*/ 7893939 w 8493633"/>
              <a:gd name="connsiteY1" fmla="*/ 129540 h 133350"/>
              <a:gd name="connsiteX2" fmla="*/ 7766304 w 8493633"/>
              <a:gd name="connsiteY2" fmla="*/ 0 h 133350"/>
              <a:gd name="connsiteX3" fmla="*/ 7638288 w 8493633"/>
              <a:gd name="connsiteY3" fmla="*/ 128016 h 133350"/>
              <a:gd name="connsiteX4" fmla="*/ 0 w 8493633"/>
              <a:gd name="connsiteY4" fmla="*/ 128016 h 133350"/>
              <a:gd name="connsiteX0" fmla="*/ 8487918 w 8487918"/>
              <a:gd name="connsiteY0" fmla="*/ 9334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91728 w 8491728"/>
              <a:gd name="connsiteY0" fmla="*/ 129540 h 129540"/>
              <a:gd name="connsiteX1" fmla="*/ 7893939 w 8491728"/>
              <a:gd name="connsiteY1" fmla="*/ 129540 h 129540"/>
              <a:gd name="connsiteX2" fmla="*/ 7766304 w 8491728"/>
              <a:gd name="connsiteY2" fmla="*/ 0 h 129540"/>
              <a:gd name="connsiteX3" fmla="*/ 7638288 w 8491728"/>
              <a:gd name="connsiteY3" fmla="*/ 128016 h 129540"/>
              <a:gd name="connsiteX4" fmla="*/ 0 w 8491728"/>
              <a:gd name="connsiteY4" fmla="*/ 128016 h 129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91728" h="129540">
                <a:moveTo>
                  <a:pt x="8491728" y="129540"/>
                </a:moveTo>
                <a:lnTo>
                  <a:pt x="7893939" y="129540"/>
                </a:lnTo>
                <a:lnTo>
                  <a:pt x="7766304" y="0"/>
                </a:lnTo>
                <a:lnTo>
                  <a:pt x="7638288" y="128016"/>
                </a:lnTo>
                <a:lnTo>
                  <a:pt x="0" y="128016"/>
                </a:lnTo>
              </a:path>
            </a:pathLst>
          </a:custGeom>
          <a:noFill/>
          <a:ln w="12700"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2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84535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8">
          <p15:clr>
            <a:srgbClr val="FBAE40"/>
          </p15:clr>
        </p15:guide>
        <p15:guide id="3" orient="horz" pos="3859" userDrawn="1">
          <p15:clr>
            <a:srgbClr val="FBAE40"/>
          </p15:clr>
        </p15:guide>
        <p15:guide id="4" pos="202">
          <p15:clr>
            <a:srgbClr val="FBAE40"/>
          </p15:clr>
        </p15:guide>
        <p15:guide id="5" pos="5558">
          <p15:clr>
            <a:srgbClr val="FBAE40"/>
          </p15:clr>
        </p15:guide>
        <p15:guide id="6" orient="horz" pos="202">
          <p15:clr>
            <a:srgbClr val="FBAE40"/>
          </p15:clr>
        </p15:guide>
        <p15:guide id="7" orient="horz" pos="411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86E3A975-4E1F-4130-947A-76ECF39D2EF2}"/>
              </a:ext>
            </a:extLst>
          </p:cNvPr>
          <p:cNvSpPr/>
          <p:nvPr userDrawn="1"/>
        </p:nvSpPr>
        <p:spPr>
          <a:xfrm>
            <a:off x="323086" y="829818"/>
            <a:ext cx="8491728" cy="129540"/>
          </a:xfrm>
          <a:custGeom>
            <a:avLst/>
            <a:gdLst>
              <a:gd name="connsiteX0" fmla="*/ 8491728 w 8491728"/>
              <a:gd name="connsiteY0" fmla="*/ 121920 h 128016"/>
              <a:gd name="connsiteX1" fmla="*/ 7888224 w 8491728"/>
              <a:gd name="connsiteY1" fmla="*/ 121920 h 128016"/>
              <a:gd name="connsiteX2" fmla="*/ 7766304 w 8491728"/>
              <a:gd name="connsiteY2" fmla="*/ 0 h 128016"/>
              <a:gd name="connsiteX3" fmla="*/ 7638288 w 8491728"/>
              <a:gd name="connsiteY3" fmla="*/ 128016 h 128016"/>
              <a:gd name="connsiteX4" fmla="*/ 0 w 8491728"/>
              <a:gd name="connsiteY4" fmla="*/ 128016 h 128016"/>
              <a:gd name="connsiteX0" fmla="*/ 8491728 w 8491728"/>
              <a:gd name="connsiteY0" fmla="*/ 121920 h 129540"/>
              <a:gd name="connsiteX1" fmla="*/ 7893939 w 8491728"/>
              <a:gd name="connsiteY1" fmla="*/ 129540 h 129540"/>
              <a:gd name="connsiteX2" fmla="*/ 7766304 w 8491728"/>
              <a:gd name="connsiteY2" fmla="*/ 0 h 129540"/>
              <a:gd name="connsiteX3" fmla="*/ 7638288 w 8491728"/>
              <a:gd name="connsiteY3" fmla="*/ 128016 h 129540"/>
              <a:gd name="connsiteX4" fmla="*/ 0 w 8491728"/>
              <a:gd name="connsiteY4" fmla="*/ 128016 h 129540"/>
              <a:gd name="connsiteX0" fmla="*/ 8491728 w 8491728"/>
              <a:gd name="connsiteY0" fmla="*/ 133350 h 133350"/>
              <a:gd name="connsiteX1" fmla="*/ 7893939 w 8491728"/>
              <a:gd name="connsiteY1" fmla="*/ 129540 h 133350"/>
              <a:gd name="connsiteX2" fmla="*/ 7766304 w 8491728"/>
              <a:gd name="connsiteY2" fmla="*/ 0 h 133350"/>
              <a:gd name="connsiteX3" fmla="*/ 7638288 w 8491728"/>
              <a:gd name="connsiteY3" fmla="*/ 128016 h 133350"/>
              <a:gd name="connsiteX4" fmla="*/ 0 w 8491728"/>
              <a:gd name="connsiteY4" fmla="*/ 128016 h 133350"/>
              <a:gd name="connsiteX0" fmla="*/ 8489823 w 8489823"/>
              <a:gd name="connsiteY0" fmla="*/ 127635 h 129540"/>
              <a:gd name="connsiteX1" fmla="*/ 7893939 w 8489823"/>
              <a:gd name="connsiteY1" fmla="*/ 129540 h 129540"/>
              <a:gd name="connsiteX2" fmla="*/ 7766304 w 8489823"/>
              <a:gd name="connsiteY2" fmla="*/ 0 h 129540"/>
              <a:gd name="connsiteX3" fmla="*/ 7638288 w 8489823"/>
              <a:gd name="connsiteY3" fmla="*/ 128016 h 129540"/>
              <a:gd name="connsiteX4" fmla="*/ 0 w 8489823"/>
              <a:gd name="connsiteY4" fmla="*/ 128016 h 129540"/>
              <a:gd name="connsiteX0" fmla="*/ 8487918 w 8487918"/>
              <a:gd name="connsiteY0" fmla="*/ 131445 h 131445"/>
              <a:gd name="connsiteX1" fmla="*/ 7893939 w 8487918"/>
              <a:gd name="connsiteY1" fmla="*/ 129540 h 131445"/>
              <a:gd name="connsiteX2" fmla="*/ 7766304 w 8487918"/>
              <a:gd name="connsiteY2" fmla="*/ 0 h 131445"/>
              <a:gd name="connsiteX3" fmla="*/ 7638288 w 8487918"/>
              <a:gd name="connsiteY3" fmla="*/ 128016 h 131445"/>
              <a:gd name="connsiteX4" fmla="*/ 0 w 8487918"/>
              <a:gd name="connsiteY4" fmla="*/ 128016 h 131445"/>
              <a:gd name="connsiteX0" fmla="*/ 8487918 w 8487918"/>
              <a:gd name="connsiteY0" fmla="*/ 12763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7918 w 8487918"/>
              <a:gd name="connsiteY0" fmla="*/ 131445 h 131445"/>
              <a:gd name="connsiteX1" fmla="*/ 7893939 w 8487918"/>
              <a:gd name="connsiteY1" fmla="*/ 129540 h 131445"/>
              <a:gd name="connsiteX2" fmla="*/ 7766304 w 8487918"/>
              <a:gd name="connsiteY2" fmla="*/ 0 h 131445"/>
              <a:gd name="connsiteX3" fmla="*/ 7638288 w 8487918"/>
              <a:gd name="connsiteY3" fmla="*/ 128016 h 131445"/>
              <a:gd name="connsiteX4" fmla="*/ 0 w 8487918"/>
              <a:gd name="connsiteY4" fmla="*/ 128016 h 131445"/>
              <a:gd name="connsiteX0" fmla="*/ 8487918 w 8487918"/>
              <a:gd name="connsiteY0" fmla="*/ 125730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7918 w 8487918"/>
              <a:gd name="connsiteY0" fmla="*/ 12763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6013 w 8486013"/>
              <a:gd name="connsiteY0" fmla="*/ 127635 h 129540"/>
              <a:gd name="connsiteX1" fmla="*/ 7893939 w 8486013"/>
              <a:gd name="connsiteY1" fmla="*/ 129540 h 129540"/>
              <a:gd name="connsiteX2" fmla="*/ 7766304 w 8486013"/>
              <a:gd name="connsiteY2" fmla="*/ 0 h 129540"/>
              <a:gd name="connsiteX3" fmla="*/ 7638288 w 8486013"/>
              <a:gd name="connsiteY3" fmla="*/ 128016 h 129540"/>
              <a:gd name="connsiteX4" fmla="*/ 0 w 8486013"/>
              <a:gd name="connsiteY4" fmla="*/ 128016 h 129540"/>
              <a:gd name="connsiteX0" fmla="*/ 8493633 w 8493633"/>
              <a:gd name="connsiteY0" fmla="*/ 127635 h 129540"/>
              <a:gd name="connsiteX1" fmla="*/ 7893939 w 8493633"/>
              <a:gd name="connsiteY1" fmla="*/ 129540 h 129540"/>
              <a:gd name="connsiteX2" fmla="*/ 7766304 w 8493633"/>
              <a:gd name="connsiteY2" fmla="*/ 0 h 129540"/>
              <a:gd name="connsiteX3" fmla="*/ 7638288 w 8493633"/>
              <a:gd name="connsiteY3" fmla="*/ 128016 h 129540"/>
              <a:gd name="connsiteX4" fmla="*/ 0 w 8493633"/>
              <a:gd name="connsiteY4" fmla="*/ 128016 h 129540"/>
              <a:gd name="connsiteX0" fmla="*/ 8493633 w 8493633"/>
              <a:gd name="connsiteY0" fmla="*/ 133350 h 133350"/>
              <a:gd name="connsiteX1" fmla="*/ 7893939 w 8493633"/>
              <a:gd name="connsiteY1" fmla="*/ 129540 h 133350"/>
              <a:gd name="connsiteX2" fmla="*/ 7766304 w 8493633"/>
              <a:gd name="connsiteY2" fmla="*/ 0 h 133350"/>
              <a:gd name="connsiteX3" fmla="*/ 7638288 w 8493633"/>
              <a:gd name="connsiteY3" fmla="*/ 128016 h 133350"/>
              <a:gd name="connsiteX4" fmla="*/ 0 w 8493633"/>
              <a:gd name="connsiteY4" fmla="*/ 128016 h 133350"/>
              <a:gd name="connsiteX0" fmla="*/ 8487918 w 8487918"/>
              <a:gd name="connsiteY0" fmla="*/ 9334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91728 w 8491728"/>
              <a:gd name="connsiteY0" fmla="*/ 129540 h 129540"/>
              <a:gd name="connsiteX1" fmla="*/ 7893939 w 8491728"/>
              <a:gd name="connsiteY1" fmla="*/ 129540 h 129540"/>
              <a:gd name="connsiteX2" fmla="*/ 7766304 w 8491728"/>
              <a:gd name="connsiteY2" fmla="*/ 0 h 129540"/>
              <a:gd name="connsiteX3" fmla="*/ 7638288 w 8491728"/>
              <a:gd name="connsiteY3" fmla="*/ 128016 h 129540"/>
              <a:gd name="connsiteX4" fmla="*/ 0 w 8491728"/>
              <a:gd name="connsiteY4" fmla="*/ 128016 h 129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91728" h="129540">
                <a:moveTo>
                  <a:pt x="8491728" y="129540"/>
                </a:moveTo>
                <a:lnTo>
                  <a:pt x="7893939" y="129540"/>
                </a:lnTo>
                <a:lnTo>
                  <a:pt x="7766304" y="0"/>
                </a:lnTo>
                <a:lnTo>
                  <a:pt x="7638288" y="128016"/>
                </a:lnTo>
                <a:lnTo>
                  <a:pt x="0" y="128016"/>
                </a:lnTo>
              </a:path>
            </a:pathLst>
          </a:custGeom>
          <a:noFill/>
          <a:ln w="12700"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2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0F22AE9-2CA0-45CA-9FBA-0FDF11700D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pic>
        <p:nvPicPr>
          <p:cNvPr id="13" name="Nexus">
            <a:extLst>
              <a:ext uri="{FF2B5EF4-FFF2-40B4-BE49-F238E27FC236}">
                <a16:creationId xmlns:a16="http://schemas.microsoft.com/office/drawing/2014/main" id="{AA031DDC-6E64-42DE-8935-4C481911C77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8278901" y="288612"/>
            <a:ext cx="640080" cy="64008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 userDrawn="1">
            <p:ph idx="1"/>
          </p:nvPr>
        </p:nvSpPr>
        <p:spPr>
          <a:xfrm>
            <a:off x="320675" y="1235075"/>
            <a:ext cx="8502650" cy="48910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Footnotes">
            <a:extLst>
              <a:ext uri="{FF2B5EF4-FFF2-40B4-BE49-F238E27FC236}">
                <a16:creationId xmlns:a16="http://schemas.microsoft.com/office/drawing/2014/main" id="{75F4AE38-44E5-1D42-B35C-FA66F7894BC3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20674" y="6217920"/>
            <a:ext cx="8502649" cy="228638"/>
          </a:xfrm>
        </p:spPr>
        <p:txBody>
          <a:bodyPr anchor="b" anchorCtr="0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dirty="0"/>
              <a:t>[Footnotes/references if needed]</a:t>
            </a:r>
          </a:p>
        </p:txBody>
      </p:sp>
    </p:spTree>
    <p:extLst>
      <p:ext uri="{BB962C8B-B14F-4D97-AF65-F5344CB8AC3E}">
        <p14:creationId xmlns:p14="http://schemas.microsoft.com/office/powerpoint/2010/main" val="35460175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8" userDrawn="1">
          <p15:clr>
            <a:srgbClr val="FBAE40"/>
          </p15:clr>
        </p15:guide>
        <p15:guide id="3" orient="horz" pos="3859" userDrawn="1">
          <p15:clr>
            <a:srgbClr val="FBAE40"/>
          </p15:clr>
        </p15:guide>
        <p15:guide id="4" pos="202" userDrawn="1">
          <p15:clr>
            <a:srgbClr val="FBAE40"/>
          </p15:clr>
        </p15:guide>
        <p15:guide id="5" pos="5558" userDrawn="1">
          <p15:clr>
            <a:srgbClr val="FBAE40"/>
          </p15:clr>
        </p15:guide>
        <p15:guide id="6" orient="horz" pos="202" userDrawn="1">
          <p15:clr>
            <a:srgbClr val="FBAE40"/>
          </p15:clr>
        </p15:guide>
        <p15:guide id="7" orient="horz" pos="4118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B12BE805-8AAF-45CE-BF58-31FF2A7187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pic>
        <p:nvPicPr>
          <p:cNvPr id="14" name="Nexus">
            <a:extLst>
              <a:ext uri="{FF2B5EF4-FFF2-40B4-BE49-F238E27FC236}">
                <a16:creationId xmlns:a16="http://schemas.microsoft.com/office/drawing/2014/main" id="{AA22AA78-F789-4154-96DD-A1BF6D3AF27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8278901" y="288612"/>
            <a:ext cx="640080" cy="64008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 userDrawn="1">
            <p:ph sz="half" idx="1"/>
          </p:nvPr>
        </p:nvSpPr>
        <p:spPr>
          <a:xfrm>
            <a:off x="320674" y="1234440"/>
            <a:ext cx="4114800" cy="489172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 userDrawn="1">
            <p:ph sz="half" idx="2"/>
          </p:nvPr>
        </p:nvSpPr>
        <p:spPr>
          <a:xfrm>
            <a:off x="4708525" y="1234440"/>
            <a:ext cx="4114800" cy="489172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Footnotes">
            <a:extLst>
              <a:ext uri="{FF2B5EF4-FFF2-40B4-BE49-F238E27FC236}">
                <a16:creationId xmlns:a16="http://schemas.microsoft.com/office/drawing/2014/main" id="{D6B37056-6377-3D44-A7A5-FAA3E592F2C8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20674" y="6217920"/>
            <a:ext cx="8502649" cy="228638"/>
          </a:xfrm>
        </p:spPr>
        <p:txBody>
          <a:bodyPr anchor="b" anchorCtr="0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dirty="0"/>
              <a:t>[Footnotes/references if needed]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69DA88AC-864D-4DB8-B790-4226FB5797A5}"/>
              </a:ext>
            </a:extLst>
          </p:cNvPr>
          <p:cNvSpPr/>
          <p:nvPr userDrawn="1"/>
        </p:nvSpPr>
        <p:spPr>
          <a:xfrm>
            <a:off x="323086" y="829818"/>
            <a:ext cx="8491728" cy="129540"/>
          </a:xfrm>
          <a:custGeom>
            <a:avLst/>
            <a:gdLst>
              <a:gd name="connsiteX0" fmla="*/ 8491728 w 8491728"/>
              <a:gd name="connsiteY0" fmla="*/ 121920 h 128016"/>
              <a:gd name="connsiteX1" fmla="*/ 7888224 w 8491728"/>
              <a:gd name="connsiteY1" fmla="*/ 121920 h 128016"/>
              <a:gd name="connsiteX2" fmla="*/ 7766304 w 8491728"/>
              <a:gd name="connsiteY2" fmla="*/ 0 h 128016"/>
              <a:gd name="connsiteX3" fmla="*/ 7638288 w 8491728"/>
              <a:gd name="connsiteY3" fmla="*/ 128016 h 128016"/>
              <a:gd name="connsiteX4" fmla="*/ 0 w 8491728"/>
              <a:gd name="connsiteY4" fmla="*/ 128016 h 128016"/>
              <a:gd name="connsiteX0" fmla="*/ 8491728 w 8491728"/>
              <a:gd name="connsiteY0" fmla="*/ 121920 h 129540"/>
              <a:gd name="connsiteX1" fmla="*/ 7893939 w 8491728"/>
              <a:gd name="connsiteY1" fmla="*/ 129540 h 129540"/>
              <a:gd name="connsiteX2" fmla="*/ 7766304 w 8491728"/>
              <a:gd name="connsiteY2" fmla="*/ 0 h 129540"/>
              <a:gd name="connsiteX3" fmla="*/ 7638288 w 8491728"/>
              <a:gd name="connsiteY3" fmla="*/ 128016 h 129540"/>
              <a:gd name="connsiteX4" fmla="*/ 0 w 8491728"/>
              <a:gd name="connsiteY4" fmla="*/ 128016 h 129540"/>
              <a:gd name="connsiteX0" fmla="*/ 8491728 w 8491728"/>
              <a:gd name="connsiteY0" fmla="*/ 133350 h 133350"/>
              <a:gd name="connsiteX1" fmla="*/ 7893939 w 8491728"/>
              <a:gd name="connsiteY1" fmla="*/ 129540 h 133350"/>
              <a:gd name="connsiteX2" fmla="*/ 7766304 w 8491728"/>
              <a:gd name="connsiteY2" fmla="*/ 0 h 133350"/>
              <a:gd name="connsiteX3" fmla="*/ 7638288 w 8491728"/>
              <a:gd name="connsiteY3" fmla="*/ 128016 h 133350"/>
              <a:gd name="connsiteX4" fmla="*/ 0 w 8491728"/>
              <a:gd name="connsiteY4" fmla="*/ 128016 h 133350"/>
              <a:gd name="connsiteX0" fmla="*/ 8489823 w 8489823"/>
              <a:gd name="connsiteY0" fmla="*/ 127635 h 129540"/>
              <a:gd name="connsiteX1" fmla="*/ 7893939 w 8489823"/>
              <a:gd name="connsiteY1" fmla="*/ 129540 h 129540"/>
              <a:gd name="connsiteX2" fmla="*/ 7766304 w 8489823"/>
              <a:gd name="connsiteY2" fmla="*/ 0 h 129540"/>
              <a:gd name="connsiteX3" fmla="*/ 7638288 w 8489823"/>
              <a:gd name="connsiteY3" fmla="*/ 128016 h 129540"/>
              <a:gd name="connsiteX4" fmla="*/ 0 w 8489823"/>
              <a:gd name="connsiteY4" fmla="*/ 128016 h 129540"/>
              <a:gd name="connsiteX0" fmla="*/ 8487918 w 8487918"/>
              <a:gd name="connsiteY0" fmla="*/ 131445 h 131445"/>
              <a:gd name="connsiteX1" fmla="*/ 7893939 w 8487918"/>
              <a:gd name="connsiteY1" fmla="*/ 129540 h 131445"/>
              <a:gd name="connsiteX2" fmla="*/ 7766304 w 8487918"/>
              <a:gd name="connsiteY2" fmla="*/ 0 h 131445"/>
              <a:gd name="connsiteX3" fmla="*/ 7638288 w 8487918"/>
              <a:gd name="connsiteY3" fmla="*/ 128016 h 131445"/>
              <a:gd name="connsiteX4" fmla="*/ 0 w 8487918"/>
              <a:gd name="connsiteY4" fmla="*/ 128016 h 131445"/>
              <a:gd name="connsiteX0" fmla="*/ 8487918 w 8487918"/>
              <a:gd name="connsiteY0" fmla="*/ 12763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7918 w 8487918"/>
              <a:gd name="connsiteY0" fmla="*/ 131445 h 131445"/>
              <a:gd name="connsiteX1" fmla="*/ 7893939 w 8487918"/>
              <a:gd name="connsiteY1" fmla="*/ 129540 h 131445"/>
              <a:gd name="connsiteX2" fmla="*/ 7766304 w 8487918"/>
              <a:gd name="connsiteY2" fmla="*/ 0 h 131445"/>
              <a:gd name="connsiteX3" fmla="*/ 7638288 w 8487918"/>
              <a:gd name="connsiteY3" fmla="*/ 128016 h 131445"/>
              <a:gd name="connsiteX4" fmla="*/ 0 w 8487918"/>
              <a:gd name="connsiteY4" fmla="*/ 128016 h 131445"/>
              <a:gd name="connsiteX0" fmla="*/ 8487918 w 8487918"/>
              <a:gd name="connsiteY0" fmla="*/ 125730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7918 w 8487918"/>
              <a:gd name="connsiteY0" fmla="*/ 12763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6013 w 8486013"/>
              <a:gd name="connsiteY0" fmla="*/ 127635 h 129540"/>
              <a:gd name="connsiteX1" fmla="*/ 7893939 w 8486013"/>
              <a:gd name="connsiteY1" fmla="*/ 129540 h 129540"/>
              <a:gd name="connsiteX2" fmla="*/ 7766304 w 8486013"/>
              <a:gd name="connsiteY2" fmla="*/ 0 h 129540"/>
              <a:gd name="connsiteX3" fmla="*/ 7638288 w 8486013"/>
              <a:gd name="connsiteY3" fmla="*/ 128016 h 129540"/>
              <a:gd name="connsiteX4" fmla="*/ 0 w 8486013"/>
              <a:gd name="connsiteY4" fmla="*/ 128016 h 129540"/>
              <a:gd name="connsiteX0" fmla="*/ 8493633 w 8493633"/>
              <a:gd name="connsiteY0" fmla="*/ 127635 h 129540"/>
              <a:gd name="connsiteX1" fmla="*/ 7893939 w 8493633"/>
              <a:gd name="connsiteY1" fmla="*/ 129540 h 129540"/>
              <a:gd name="connsiteX2" fmla="*/ 7766304 w 8493633"/>
              <a:gd name="connsiteY2" fmla="*/ 0 h 129540"/>
              <a:gd name="connsiteX3" fmla="*/ 7638288 w 8493633"/>
              <a:gd name="connsiteY3" fmla="*/ 128016 h 129540"/>
              <a:gd name="connsiteX4" fmla="*/ 0 w 8493633"/>
              <a:gd name="connsiteY4" fmla="*/ 128016 h 129540"/>
              <a:gd name="connsiteX0" fmla="*/ 8493633 w 8493633"/>
              <a:gd name="connsiteY0" fmla="*/ 133350 h 133350"/>
              <a:gd name="connsiteX1" fmla="*/ 7893939 w 8493633"/>
              <a:gd name="connsiteY1" fmla="*/ 129540 h 133350"/>
              <a:gd name="connsiteX2" fmla="*/ 7766304 w 8493633"/>
              <a:gd name="connsiteY2" fmla="*/ 0 h 133350"/>
              <a:gd name="connsiteX3" fmla="*/ 7638288 w 8493633"/>
              <a:gd name="connsiteY3" fmla="*/ 128016 h 133350"/>
              <a:gd name="connsiteX4" fmla="*/ 0 w 8493633"/>
              <a:gd name="connsiteY4" fmla="*/ 128016 h 133350"/>
              <a:gd name="connsiteX0" fmla="*/ 8487918 w 8487918"/>
              <a:gd name="connsiteY0" fmla="*/ 9334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91728 w 8491728"/>
              <a:gd name="connsiteY0" fmla="*/ 129540 h 129540"/>
              <a:gd name="connsiteX1" fmla="*/ 7893939 w 8491728"/>
              <a:gd name="connsiteY1" fmla="*/ 129540 h 129540"/>
              <a:gd name="connsiteX2" fmla="*/ 7766304 w 8491728"/>
              <a:gd name="connsiteY2" fmla="*/ 0 h 129540"/>
              <a:gd name="connsiteX3" fmla="*/ 7638288 w 8491728"/>
              <a:gd name="connsiteY3" fmla="*/ 128016 h 129540"/>
              <a:gd name="connsiteX4" fmla="*/ 0 w 8491728"/>
              <a:gd name="connsiteY4" fmla="*/ 128016 h 129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91728" h="129540">
                <a:moveTo>
                  <a:pt x="8491728" y="129540"/>
                </a:moveTo>
                <a:lnTo>
                  <a:pt x="7893939" y="129540"/>
                </a:lnTo>
                <a:lnTo>
                  <a:pt x="7766304" y="0"/>
                </a:lnTo>
                <a:lnTo>
                  <a:pt x="7638288" y="128016"/>
                </a:lnTo>
                <a:lnTo>
                  <a:pt x="0" y="128016"/>
                </a:lnTo>
              </a:path>
            </a:pathLst>
          </a:custGeom>
          <a:noFill/>
          <a:ln w="12700"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2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44103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94" userDrawn="1">
          <p15:clr>
            <a:srgbClr val="FBAE40"/>
          </p15:clr>
        </p15:guide>
        <p15:guide id="2" pos="2966" userDrawn="1">
          <p15:clr>
            <a:srgbClr val="FBAE40"/>
          </p15:clr>
        </p15:guide>
        <p15:guide id="3" orient="horz" pos="778" userDrawn="1">
          <p15:clr>
            <a:srgbClr val="FBAE40"/>
          </p15:clr>
        </p15:guide>
        <p15:guide id="5" orient="horz" pos="3859" userDrawn="1">
          <p15:clr>
            <a:srgbClr val="FBAE40"/>
          </p15:clr>
        </p15:guide>
        <p15:guide id="6" pos="202" userDrawn="1">
          <p15:clr>
            <a:srgbClr val="FBAE40"/>
          </p15:clr>
        </p15:guide>
        <p15:guide id="7" pos="5558" userDrawn="1">
          <p15:clr>
            <a:srgbClr val="FBAE40"/>
          </p15:clr>
        </p15:guide>
        <p15:guide id="8" orient="horz" pos="202" userDrawn="1">
          <p15:clr>
            <a:srgbClr val="FBAE40"/>
          </p15:clr>
        </p15:guide>
        <p15:guide id="9" orient="horz" pos="4118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E5317A-A20E-2F41-9389-6C78A525E5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]</a:t>
            </a:r>
          </a:p>
        </p:txBody>
      </p:sp>
      <p:pic>
        <p:nvPicPr>
          <p:cNvPr id="14" name="Nexus">
            <a:extLst>
              <a:ext uri="{FF2B5EF4-FFF2-40B4-BE49-F238E27FC236}">
                <a16:creationId xmlns:a16="http://schemas.microsoft.com/office/drawing/2014/main" id="{8085B9DA-16E4-4C13-AC39-7ED891710C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8278901" y="288612"/>
            <a:ext cx="640080" cy="64008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 userDrawn="1">
            <p:ph sz="half" idx="1"/>
          </p:nvPr>
        </p:nvSpPr>
        <p:spPr>
          <a:xfrm>
            <a:off x="320673" y="1234439"/>
            <a:ext cx="2651760" cy="489172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 userDrawn="1">
            <p:ph sz="half" idx="2"/>
          </p:nvPr>
        </p:nvSpPr>
        <p:spPr>
          <a:xfrm>
            <a:off x="3245907" y="1234439"/>
            <a:ext cx="2651760" cy="489172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2A924AD7-11EB-E145-B53D-C9DADD096840}"/>
              </a:ext>
            </a:extLst>
          </p:cNvPr>
          <p:cNvSpPr>
            <a:spLocks noGrp="1"/>
          </p:cNvSpPr>
          <p:nvPr userDrawn="1">
            <p:ph sz="quarter" idx="13"/>
          </p:nvPr>
        </p:nvSpPr>
        <p:spPr>
          <a:xfrm>
            <a:off x="6170613" y="1234439"/>
            <a:ext cx="2651760" cy="489172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Footnotes">
            <a:extLst>
              <a:ext uri="{FF2B5EF4-FFF2-40B4-BE49-F238E27FC236}">
                <a16:creationId xmlns:a16="http://schemas.microsoft.com/office/drawing/2014/main" id="{AAC8FB00-FAA0-A648-9F01-BA9E8FBDDF5A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20674" y="6217920"/>
            <a:ext cx="8502649" cy="228638"/>
          </a:xfrm>
        </p:spPr>
        <p:txBody>
          <a:bodyPr anchor="b" anchorCtr="0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dirty="0"/>
              <a:t>[Footnotes/references if needed]</a:t>
            </a: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0D41BEF0-109C-4BA2-85D6-CAA18A700256}"/>
              </a:ext>
            </a:extLst>
          </p:cNvPr>
          <p:cNvSpPr/>
          <p:nvPr userDrawn="1"/>
        </p:nvSpPr>
        <p:spPr>
          <a:xfrm>
            <a:off x="323086" y="829818"/>
            <a:ext cx="8491728" cy="129540"/>
          </a:xfrm>
          <a:custGeom>
            <a:avLst/>
            <a:gdLst>
              <a:gd name="connsiteX0" fmla="*/ 8491728 w 8491728"/>
              <a:gd name="connsiteY0" fmla="*/ 121920 h 128016"/>
              <a:gd name="connsiteX1" fmla="*/ 7888224 w 8491728"/>
              <a:gd name="connsiteY1" fmla="*/ 121920 h 128016"/>
              <a:gd name="connsiteX2" fmla="*/ 7766304 w 8491728"/>
              <a:gd name="connsiteY2" fmla="*/ 0 h 128016"/>
              <a:gd name="connsiteX3" fmla="*/ 7638288 w 8491728"/>
              <a:gd name="connsiteY3" fmla="*/ 128016 h 128016"/>
              <a:gd name="connsiteX4" fmla="*/ 0 w 8491728"/>
              <a:gd name="connsiteY4" fmla="*/ 128016 h 128016"/>
              <a:gd name="connsiteX0" fmla="*/ 8491728 w 8491728"/>
              <a:gd name="connsiteY0" fmla="*/ 121920 h 129540"/>
              <a:gd name="connsiteX1" fmla="*/ 7893939 w 8491728"/>
              <a:gd name="connsiteY1" fmla="*/ 129540 h 129540"/>
              <a:gd name="connsiteX2" fmla="*/ 7766304 w 8491728"/>
              <a:gd name="connsiteY2" fmla="*/ 0 h 129540"/>
              <a:gd name="connsiteX3" fmla="*/ 7638288 w 8491728"/>
              <a:gd name="connsiteY3" fmla="*/ 128016 h 129540"/>
              <a:gd name="connsiteX4" fmla="*/ 0 w 8491728"/>
              <a:gd name="connsiteY4" fmla="*/ 128016 h 129540"/>
              <a:gd name="connsiteX0" fmla="*/ 8491728 w 8491728"/>
              <a:gd name="connsiteY0" fmla="*/ 133350 h 133350"/>
              <a:gd name="connsiteX1" fmla="*/ 7893939 w 8491728"/>
              <a:gd name="connsiteY1" fmla="*/ 129540 h 133350"/>
              <a:gd name="connsiteX2" fmla="*/ 7766304 w 8491728"/>
              <a:gd name="connsiteY2" fmla="*/ 0 h 133350"/>
              <a:gd name="connsiteX3" fmla="*/ 7638288 w 8491728"/>
              <a:gd name="connsiteY3" fmla="*/ 128016 h 133350"/>
              <a:gd name="connsiteX4" fmla="*/ 0 w 8491728"/>
              <a:gd name="connsiteY4" fmla="*/ 128016 h 133350"/>
              <a:gd name="connsiteX0" fmla="*/ 8489823 w 8489823"/>
              <a:gd name="connsiteY0" fmla="*/ 127635 h 129540"/>
              <a:gd name="connsiteX1" fmla="*/ 7893939 w 8489823"/>
              <a:gd name="connsiteY1" fmla="*/ 129540 h 129540"/>
              <a:gd name="connsiteX2" fmla="*/ 7766304 w 8489823"/>
              <a:gd name="connsiteY2" fmla="*/ 0 h 129540"/>
              <a:gd name="connsiteX3" fmla="*/ 7638288 w 8489823"/>
              <a:gd name="connsiteY3" fmla="*/ 128016 h 129540"/>
              <a:gd name="connsiteX4" fmla="*/ 0 w 8489823"/>
              <a:gd name="connsiteY4" fmla="*/ 128016 h 129540"/>
              <a:gd name="connsiteX0" fmla="*/ 8487918 w 8487918"/>
              <a:gd name="connsiteY0" fmla="*/ 131445 h 131445"/>
              <a:gd name="connsiteX1" fmla="*/ 7893939 w 8487918"/>
              <a:gd name="connsiteY1" fmla="*/ 129540 h 131445"/>
              <a:gd name="connsiteX2" fmla="*/ 7766304 w 8487918"/>
              <a:gd name="connsiteY2" fmla="*/ 0 h 131445"/>
              <a:gd name="connsiteX3" fmla="*/ 7638288 w 8487918"/>
              <a:gd name="connsiteY3" fmla="*/ 128016 h 131445"/>
              <a:gd name="connsiteX4" fmla="*/ 0 w 8487918"/>
              <a:gd name="connsiteY4" fmla="*/ 128016 h 131445"/>
              <a:gd name="connsiteX0" fmla="*/ 8487918 w 8487918"/>
              <a:gd name="connsiteY0" fmla="*/ 12763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7918 w 8487918"/>
              <a:gd name="connsiteY0" fmla="*/ 131445 h 131445"/>
              <a:gd name="connsiteX1" fmla="*/ 7893939 w 8487918"/>
              <a:gd name="connsiteY1" fmla="*/ 129540 h 131445"/>
              <a:gd name="connsiteX2" fmla="*/ 7766304 w 8487918"/>
              <a:gd name="connsiteY2" fmla="*/ 0 h 131445"/>
              <a:gd name="connsiteX3" fmla="*/ 7638288 w 8487918"/>
              <a:gd name="connsiteY3" fmla="*/ 128016 h 131445"/>
              <a:gd name="connsiteX4" fmla="*/ 0 w 8487918"/>
              <a:gd name="connsiteY4" fmla="*/ 128016 h 131445"/>
              <a:gd name="connsiteX0" fmla="*/ 8487918 w 8487918"/>
              <a:gd name="connsiteY0" fmla="*/ 125730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7918 w 8487918"/>
              <a:gd name="connsiteY0" fmla="*/ 12763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6013 w 8486013"/>
              <a:gd name="connsiteY0" fmla="*/ 127635 h 129540"/>
              <a:gd name="connsiteX1" fmla="*/ 7893939 w 8486013"/>
              <a:gd name="connsiteY1" fmla="*/ 129540 h 129540"/>
              <a:gd name="connsiteX2" fmla="*/ 7766304 w 8486013"/>
              <a:gd name="connsiteY2" fmla="*/ 0 h 129540"/>
              <a:gd name="connsiteX3" fmla="*/ 7638288 w 8486013"/>
              <a:gd name="connsiteY3" fmla="*/ 128016 h 129540"/>
              <a:gd name="connsiteX4" fmla="*/ 0 w 8486013"/>
              <a:gd name="connsiteY4" fmla="*/ 128016 h 129540"/>
              <a:gd name="connsiteX0" fmla="*/ 8493633 w 8493633"/>
              <a:gd name="connsiteY0" fmla="*/ 127635 h 129540"/>
              <a:gd name="connsiteX1" fmla="*/ 7893939 w 8493633"/>
              <a:gd name="connsiteY1" fmla="*/ 129540 h 129540"/>
              <a:gd name="connsiteX2" fmla="*/ 7766304 w 8493633"/>
              <a:gd name="connsiteY2" fmla="*/ 0 h 129540"/>
              <a:gd name="connsiteX3" fmla="*/ 7638288 w 8493633"/>
              <a:gd name="connsiteY3" fmla="*/ 128016 h 129540"/>
              <a:gd name="connsiteX4" fmla="*/ 0 w 8493633"/>
              <a:gd name="connsiteY4" fmla="*/ 128016 h 129540"/>
              <a:gd name="connsiteX0" fmla="*/ 8493633 w 8493633"/>
              <a:gd name="connsiteY0" fmla="*/ 133350 h 133350"/>
              <a:gd name="connsiteX1" fmla="*/ 7893939 w 8493633"/>
              <a:gd name="connsiteY1" fmla="*/ 129540 h 133350"/>
              <a:gd name="connsiteX2" fmla="*/ 7766304 w 8493633"/>
              <a:gd name="connsiteY2" fmla="*/ 0 h 133350"/>
              <a:gd name="connsiteX3" fmla="*/ 7638288 w 8493633"/>
              <a:gd name="connsiteY3" fmla="*/ 128016 h 133350"/>
              <a:gd name="connsiteX4" fmla="*/ 0 w 8493633"/>
              <a:gd name="connsiteY4" fmla="*/ 128016 h 133350"/>
              <a:gd name="connsiteX0" fmla="*/ 8487918 w 8487918"/>
              <a:gd name="connsiteY0" fmla="*/ 9334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91728 w 8491728"/>
              <a:gd name="connsiteY0" fmla="*/ 129540 h 129540"/>
              <a:gd name="connsiteX1" fmla="*/ 7893939 w 8491728"/>
              <a:gd name="connsiteY1" fmla="*/ 129540 h 129540"/>
              <a:gd name="connsiteX2" fmla="*/ 7766304 w 8491728"/>
              <a:gd name="connsiteY2" fmla="*/ 0 h 129540"/>
              <a:gd name="connsiteX3" fmla="*/ 7638288 w 8491728"/>
              <a:gd name="connsiteY3" fmla="*/ 128016 h 129540"/>
              <a:gd name="connsiteX4" fmla="*/ 0 w 8491728"/>
              <a:gd name="connsiteY4" fmla="*/ 128016 h 129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91728" h="129540">
                <a:moveTo>
                  <a:pt x="8491728" y="129540"/>
                </a:moveTo>
                <a:lnTo>
                  <a:pt x="7893939" y="129540"/>
                </a:lnTo>
                <a:lnTo>
                  <a:pt x="7766304" y="0"/>
                </a:lnTo>
                <a:lnTo>
                  <a:pt x="7638288" y="128016"/>
                </a:lnTo>
                <a:lnTo>
                  <a:pt x="0" y="128016"/>
                </a:lnTo>
              </a:path>
            </a:pathLst>
          </a:custGeom>
          <a:noFill/>
          <a:ln w="12700"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2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65851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72" userDrawn="1">
          <p15:clr>
            <a:srgbClr val="FBAE40"/>
          </p15:clr>
        </p15:guide>
        <p15:guide id="2" pos="2045" userDrawn="1">
          <p15:clr>
            <a:srgbClr val="FBAE40"/>
          </p15:clr>
        </p15:guide>
        <p15:guide id="3" pos="3888" userDrawn="1">
          <p15:clr>
            <a:srgbClr val="FBAE40"/>
          </p15:clr>
        </p15:guide>
        <p15:guide id="4" pos="3715" userDrawn="1">
          <p15:clr>
            <a:srgbClr val="FBAE40"/>
          </p15:clr>
        </p15:guide>
        <p15:guide id="5" orient="horz" pos="778" userDrawn="1">
          <p15:clr>
            <a:srgbClr val="FBAE40"/>
          </p15:clr>
        </p15:guide>
        <p15:guide id="7" orient="horz" pos="3859" userDrawn="1">
          <p15:clr>
            <a:srgbClr val="FBAE40"/>
          </p15:clr>
        </p15:guide>
        <p15:guide id="8" pos="202" userDrawn="1">
          <p15:clr>
            <a:srgbClr val="FBAE40"/>
          </p15:clr>
        </p15:guide>
        <p15:guide id="9" pos="5558" userDrawn="1">
          <p15:clr>
            <a:srgbClr val="FBAE40"/>
          </p15:clr>
        </p15:guide>
        <p15:guide id="10" orient="horz" pos="202" userDrawn="1">
          <p15:clr>
            <a:srgbClr val="FBAE40"/>
          </p15:clr>
        </p15:guide>
        <p15:guide id="11" orient="horz" pos="4118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A6758353-FE5A-440A-A6DD-54AD2D8EA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pic>
        <p:nvPicPr>
          <p:cNvPr id="12" name="Nexus">
            <a:extLst>
              <a:ext uri="{FF2B5EF4-FFF2-40B4-BE49-F238E27FC236}">
                <a16:creationId xmlns:a16="http://schemas.microsoft.com/office/drawing/2014/main" id="{5B463AA2-5335-4124-85C1-4418F5A7D6D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8278901" y="288612"/>
            <a:ext cx="640080" cy="640080"/>
          </a:xfrm>
          <a:prstGeom prst="rect">
            <a:avLst/>
          </a:prstGeom>
        </p:spPr>
      </p:pic>
      <p:sp>
        <p:nvSpPr>
          <p:cNvPr id="3" name="Content Placeholder 1"/>
          <p:cNvSpPr>
            <a:spLocks noGrp="1"/>
          </p:cNvSpPr>
          <p:nvPr userDrawn="1">
            <p:ph sz="half" idx="1"/>
          </p:nvPr>
        </p:nvSpPr>
        <p:spPr>
          <a:xfrm>
            <a:off x="320673" y="1234440"/>
            <a:ext cx="2651760" cy="489172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 userDrawn="1">
            <p:ph sz="half" idx="2"/>
          </p:nvPr>
        </p:nvSpPr>
        <p:spPr>
          <a:xfrm>
            <a:off x="3245906" y="1234440"/>
            <a:ext cx="5577417" cy="489172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Footnotes">
            <a:extLst>
              <a:ext uri="{FF2B5EF4-FFF2-40B4-BE49-F238E27FC236}">
                <a16:creationId xmlns:a16="http://schemas.microsoft.com/office/drawing/2014/main" id="{C29B4469-0E3B-1648-97D9-6CC5A5F150B3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20674" y="6217920"/>
            <a:ext cx="8502649" cy="228638"/>
          </a:xfrm>
        </p:spPr>
        <p:txBody>
          <a:bodyPr anchor="b" anchorCtr="0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dirty="0"/>
              <a:t>[Footnotes/references if needed]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15154857-D5A5-48C4-9372-EAC95BFAA80C}"/>
              </a:ext>
            </a:extLst>
          </p:cNvPr>
          <p:cNvSpPr/>
          <p:nvPr userDrawn="1"/>
        </p:nvSpPr>
        <p:spPr>
          <a:xfrm>
            <a:off x="323086" y="829818"/>
            <a:ext cx="8491728" cy="129540"/>
          </a:xfrm>
          <a:custGeom>
            <a:avLst/>
            <a:gdLst>
              <a:gd name="connsiteX0" fmla="*/ 8491728 w 8491728"/>
              <a:gd name="connsiteY0" fmla="*/ 121920 h 128016"/>
              <a:gd name="connsiteX1" fmla="*/ 7888224 w 8491728"/>
              <a:gd name="connsiteY1" fmla="*/ 121920 h 128016"/>
              <a:gd name="connsiteX2" fmla="*/ 7766304 w 8491728"/>
              <a:gd name="connsiteY2" fmla="*/ 0 h 128016"/>
              <a:gd name="connsiteX3" fmla="*/ 7638288 w 8491728"/>
              <a:gd name="connsiteY3" fmla="*/ 128016 h 128016"/>
              <a:gd name="connsiteX4" fmla="*/ 0 w 8491728"/>
              <a:gd name="connsiteY4" fmla="*/ 128016 h 128016"/>
              <a:gd name="connsiteX0" fmla="*/ 8491728 w 8491728"/>
              <a:gd name="connsiteY0" fmla="*/ 121920 h 129540"/>
              <a:gd name="connsiteX1" fmla="*/ 7893939 w 8491728"/>
              <a:gd name="connsiteY1" fmla="*/ 129540 h 129540"/>
              <a:gd name="connsiteX2" fmla="*/ 7766304 w 8491728"/>
              <a:gd name="connsiteY2" fmla="*/ 0 h 129540"/>
              <a:gd name="connsiteX3" fmla="*/ 7638288 w 8491728"/>
              <a:gd name="connsiteY3" fmla="*/ 128016 h 129540"/>
              <a:gd name="connsiteX4" fmla="*/ 0 w 8491728"/>
              <a:gd name="connsiteY4" fmla="*/ 128016 h 129540"/>
              <a:gd name="connsiteX0" fmla="*/ 8491728 w 8491728"/>
              <a:gd name="connsiteY0" fmla="*/ 133350 h 133350"/>
              <a:gd name="connsiteX1" fmla="*/ 7893939 w 8491728"/>
              <a:gd name="connsiteY1" fmla="*/ 129540 h 133350"/>
              <a:gd name="connsiteX2" fmla="*/ 7766304 w 8491728"/>
              <a:gd name="connsiteY2" fmla="*/ 0 h 133350"/>
              <a:gd name="connsiteX3" fmla="*/ 7638288 w 8491728"/>
              <a:gd name="connsiteY3" fmla="*/ 128016 h 133350"/>
              <a:gd name="connsiteX4" fmla="*/ 0 w 8491728"/>
              <a:gd name="connsiteY4" fmla="*/ 128016 h 133350"/>
              <a:gd name="connsiteX0" fmla="*/ 8489823 w 8489823"/>
              <a:gd name="connsiteY0" fmla="*/ 127635 h 129540"/>
              <a:gd name="connsiteX1" fmla="*/ 7893939 w 8489823"/>
              <a:gd name="connsiteY1" fmla="*/ 129540 h 129540"/>
              <a:gd name="connsiteX2" fmla="*/ 7766304 w 8489823"/>
              <a:gd name="connsiteY2" fmla="*/ 0 h 129540"/>
              <a:gd name="connsiteX3" fmla="*/ 7638288 w 8489823"/>
              <a:gd name="connsiteY3" fmla="*/ 128016 h 129540"/>
              <a:gd name="connsiteX4" fmla="*/ 0 w 8489823"/>
              <a:gd name="connsiteY4" fmla="*/ 128016 h 129540"/>
              <a:gd name="connsiteX0" fmla="*/ 8487918 w 8487918"/>
              <a:gd name="connsiteY0" fmla="*/ 131445 h 131445"/>
              <a:gd name="connsiteX1" fmla="*/ 7893939 w 8487918"/>
              <a:gd name="connsiteY1" fmla="*/ 129540 h 131445"/>
              <a:gd name="connsiteX2" fmla="*/ 7766304 w 8487918"/>
              <a:gd name="connsiteY2" fmla="*/ 0 h 131445"/>
              <a:gd name="connsiteX3" fmla="*/ 7638288 w 8487918"/>
              <a:gd name="connsiteY3" fmla="*/ 128016 h 131445"/>
              <a:gd name="connsiteX4" fmla="*/ 0 w 8487918"/>
              <a:gd name="connsiteY4" fmla="*/ 128016 h 131445"/>
              <a:gd name="connsiteX0" fmla="*/ 8487918 w 8487918"/>
              <a:gd name="connsiteY0" fmla="*/ 12763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7918 w 8487918"/>
              <a:gd name="connsiteY0" fmla="*/ 131445 h 131445"/>
              <a:gd name="connsiteX1" fmla="*/ 7893939 w 8487918"/>
              <a:gd name="connsiteY1" fmla="*/ 129540 h 131445"/>
              <a:gd name="connsiteX2" fmla="*/ 7766304 w 8487918"/>
              <a:gd name="connsiteY2" fmla="*/ 0 h 131445"/>
              <a:gd name="connsiteX3" fmla="*/ 7638288 w 8487918"/>
              <a:gd name="connsiteY3" fmla="*/ 128016 h 131445"/>
              <a:gd name="connsiteX4" fmla="*/ 0 w 8487918"/>
              <a:gd name="connsiteY4" fmla="*/ 128016 h 131445"/>
              <a:gd name="connsiteX0" fmla="*/ 8487918 w 8487918"/>
              <a:gd name="connsiteY0" fmla="*/ 125730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7918 w 8487918"/>
              <a:gd name="connsiteY0" fmla="*/ 12763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6013 w 8486013"/>
              <a:gd name="connsiteY0" fmla="*/ 127635 h 129540"/>
              <a:gd name="connsiteX1" fmla="*/ 7893939 w 8486013"/>
              <a:gd name="connsiteY1" fmla="*/ 129540 h 129540"/>
              <a:gd name="connsiteX2" fmla="*/ 7766304 w 8486013"/>
              <a:gd name="connsiteY2" fmla="*/ 0 h 129540"/>
              <a:gd name="connsiteX3" fmla="*/ 7638288 w 8486013"/>
              <a:gd name="connsiteY3" fmla="*/ 128016 h 129540"/>
              <a:gd name="connsiteX4" fmla="*/ 0 w 8486013"/>
              <a:gd name="connsiteY4" fmla="*/ 128016 h 129540"/>
              <a:gd name="connsiteX0" fmla="*/ 8493633 w 8493633"/>
              <a:gd name="connsiteY0" fmla="*/ 127635 h 129540"/>
              <a:gd name="connsiteX1" fmla="*/ 7893939 w 8493633"/>
              <a:gd name="connsiteY1" fmla="*/ 129540 h 129540"/>
              <a:gd name="connsiteX2" fmla="*/ 7766304 w 8493633"/>
              <a:gd name="connsiteY2" fmla="*/ 0 h 129540"/>
              <a:gd name="connsiteX3" fmla="*/ 7638288 w 8493633"/>
              <a:gd name="connsiteY3" fmla="*/ 128016 h 129540"/>
              <a:gd name="connsiteX4" fmla="*/ 0 w 8493633"/>
              <a:gd name="connsiteY4" fmla="*/ 128016 h 129540"/>
              <a:gd name="connsiteX0" fmla="*/ 8493633 w 8493633"/>
              <a:gd name="connsiteY0" fmla="*/ 133350 h 133350"/>
              <a:gd name="connsiteX1" fmla="*/ 7893939 w 8493633"/>
              <a:gd name="connsiteY1" fmla="*/ 129540 h 133350"/>
              <a:gd name="connsiteX2" fmla="*/ 7766304 w 8493633"/>
              <a:gd name="connsiteY2" fmla="*/ 0 h 133350"/>
              <a:gd name="connsiteX3" fmla="*/ 7638288 w 8493633"/>
              <a:gd name="connsiteY3" fmla="*/ 128016 h 133350"/>
              <a:gd name="connsiteX4" fmla="*/ 0 w 8493633"/>
              <a:gd name="connsiteY4" fmla="*/ 128016 h 133350"/>
              <a:gd name="connsiteX0" fmla="*/ 8487918 w 8487918"/>
              <a:gd name="connsiteY0" fmla="*/ 9334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91728 w 8491728"/>
              <a:gd name="connsiteY0" fmla="*/ 129540 h 129540"/>
              <a:gd name="connsiteX1" fmla="*/ 7893939 w 8491728"/>
              <a:gd name="connsiteY1" fmla="*/ 129540 h 129540"/>
              <a:gd name="connsiteX2" fmla="*/ 7766304 w 8491728"/>
              <a:gd name="connsiteY2" fmla="*/ 0 h 129540"/>
              <a:gd name="connsiteX3" fmla="*/ 7638288 w 8491728"/>
              <a:gd name="connsiteY3" fmla="*/ 128016 h 129540"/>
              <a:gd name="connsiteX4" fmla="*/ 0 w 8491728"/>
              <a:gd name="connsiteY4" fmla="*/ 128016 h 129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91728" h="129540">
                <a:moveTo>
                  <a:pt x="8491728" y="129540"/>
                </a:moveTo>
                <a:lnTo>
                  <a:pt x="7893939" y="129540"/>
                </a:lnTo>
                <a:lnTo>
                  <a:pt x="7766304" y="0"/>
                </a:lnTo>
                <a:lnTo>
                  <a:pt x="7638288" y="128016"/>
                </a:lnTo>
                <a:lnTo>
                  <a:pt x="0" y="128016"/>
                </a:lnTo>
              </a:path>
            </a:pathLst>
          </a:custGeom>
          <a:noFill/>
          <a:ln w="12700"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2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583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72">
          <p15:clr>
            <a:srgbClr val="FBAE40"/>
          </p15:clr>
        </p15:guide>
        <p15:guide id="2" pos="2045">
          <p15:clr>
            <a:srgbClr val="FBAE40"/>
          </p15:clr>
        </p15:guide>
        <p15:guide id="5" orient="horz" pos="778">
          <p15:clr>
            <a:srgbClr val="FBAE40"/>
          </p15:clr>
        </p15:guide>
        <p15:guide id="7" orient="horz" pos="3859" userDrawn="1">
          <p15:clr>
            <a:srgbClr val="FBAE40"/>
          </p15:clr>
        </p15:guide>
        <p15:guide id="8" pos="202">
          <p15:clr>
            <a:srgbClr val="FBAE40"/>
          </p15:clr>
        </p15:guide>
        <p15:guide id="9" pos="5558">
          <p15:clr>
            <a:srgbClr val="FBAE40"/>
          </p15:clr>
        </p15:guide>
        <p15:guide id="10" orient="horz" pos="202">
          <p15:clr>
            <a:srgbClr val="FBAE40"/>
          </p15:clr>
        </p15:guide>
        <p15:guide id="11" orient="horz" pos="4118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A6758353-FE5A-440A-A6DD-54AD2D8EA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pic>
        <p:nvPicPr>
          <p:cNvPr id="17" name="Nexus">
            <a:extLst>
              <a:ext uri="{FF2B5EF4-FFF2-40B4-BE49-F238E27FC236}">
                <a16:creationId xmlns:a16="http://schemas.microsoft.com/office/drawing/2014/main" id="{550042BD-5E5D-479A-8C1E-D072A2558AB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8278901" y="288612"/>
            <a:ext cx="640080" cy="64008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 userDrawn="1">
            <p:ph sz="half" idx="1"/>
          </p:nvPr>
        </p:nvSpPr>
        <p:spPr>
          <a:xfrm>
            <a:off x="320673" y="1234440"/>
            <a:ext cx="5576890" cy="489172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 userDrawn="1">
            <p:ph sz="half" idx="2"/>
          </p:nvPr>
        </p:nvSpPr>
        <p:spPr>
          <a:xfrm>
            <a:off x="6172200" y="1234440"/>
            <a:ext cx="2651123" cy="489172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Footnotes">
            <a:extLst>
              <a:ext uri="{FF2B5EF4-FFF2-40B4-BE49-F238E27FC236}">
                <a16:creationId xmlns:a16="http://schemas.microsoft.com/office/drawing/2014/main" id="{1F6B1A05-982E-2248-8A4C-D035BD78B28C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20674" y="6217920"/>
            <a:ext cx="8502649" cy="228638"/>
          </a:xfrm>
        </p:spPr>
        <p:txBody>
          <a:bodyPr anchor="b" anchorCtr="0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dirty="0"/>
              <a:t>[Footnotes/references if needed]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2FDA3077-97A9-4F14-B8C7-55C68D612104}"/>
              </a:ext>
            </a:extLst>
          </p:cNvPr>
          <p:cNvSpPr/>
          <p:nvPr userDrawn="1"/>
        </p:nvSpPr>
        <p:spPr>
          <a:xfrm>
            <a:off x="323086" y="829818"/>
            <a:ext cx="8491728" cy="129540"/>
          </a:xfrm>
          <a:custGeom>
            <a:avLst/>
            <a:gdLst>
              <a:gd name="connsiteX0" fmla="*/ 8491728 w 8491728"/>
              <a:gd name="connsiteY0" fmla="*/ 121920 h 128016"/>
              <a:gd name="connsiteX1" fmla="*/ 7888224 w 8491728"/>
              <a:gd name="connsiteY1" fmla="*/ 121920 h 128016"/>
              <a:gd name="connsiteX2" fmla="*/ 7766304 w 8491728"/>
              <a:gd name="connsiteY2" fmla="*/ 0 h 128016"/>
              <a:gd name="connsiteX3" fmla="*/ 7638288 w 8491728"/>
              <a:gd name="connsiteY3" fmla="*/ 128016 h 128016"/>
              <a:gd name="connsiteX4" fmla="*/ 0 w 8491728"/>
              <a:gd name="connsiteY4" fmla="*/ 128016 h 128016"/>
              <a:gd name="connsiteX0" fmla="*/ 8491728 w 8491728"/>
              <a:gd name="connsiteY0" fmla="*/ 121920 h 129540"/>
              <a:gd name="connsiteX1" fmla="*/ 7893939 w 8491728"/>
              <a:gd name="connsiteY1" fmla="*/ 129540 h 129540"/>
              <a:gd name="connsiteX2" fmla="*/ 7766304 w 8491728"/>
              <a:gd name="connsiteY2" fmla="*/ 0 h 129540"/>
              <a:gd name="connsiteX3" fmla="*/ 7638288 w 8491728"/>
              <a:gd name="connsiteY3" fmla="*/ 128016 h 129540"/>
              <a:gd name="connsiteX4" fmla="*/ 0 w 8491728"/>
              <a:gd name="connsiteY4" fmla="*/ 128016 h 129540"/>
              <a:gd name="connsiteX0" fmla="*/ 8491728 w 8491728"/>
              <a:gd name="connsiteY0" fmla="*/ 133350 h 133350"/>
              <a:gd name="connsiteX1" fmla="*/ 7893939 w 8491728"/>
              <a:gd name="connsiteY1" fmla="*/ 129540 h 133350"/>
              <a:gd name="connsiteX2" fmla="*/ 7766304 w 8491728"/>
              <a:gd name="connsiteY2" fmla="*/ 0 h 133350"/>
              <a:gd name="connsiteX3" fmla="*/ 7638288 w 8491728"/>
              <a:gd name="connsiteY3" fmla="*/ 128016 h 133350"/>
              <a:gd name="connsiteX4" fmla="*/ 0 w 8491728"/>
              <a:gd name="connsiteY4" fmla="*/ 128016 h 133350"/>
              <a:gd name="connsiteX0" fmla="*/ 8489823 w 8489823"/>
              <a:gd name="connsiteY0" fmla="*/ 127635 h 129540"/>
              <a:gd name="connsiteX1" fmla="*/ 7893939 w 8489823"/>
              <a:gd name="connsiteY1" fmla="*/ 129540 h 129540"/>
              <a:gd name="connsiteX2" fmla="*/ 7766304 w 8489823"/>
              <a:gd name="connsiteY2" fmla="*/ 0 h 129540"/>
              <a:gd name="connsiteX3" fmla="*/ 7638288 w 8489823"/>
              <a:gd name="connsiteY3" fmla="*/ 128016 h 129540"/>
              <a:gd name="connsiteX4" fmla="*/ 0 w 8489823"/>
              <a:gd name="connsiteY4" fmla="*/ 128016 h 129540"/>
              <a:gd name="connsiteX0" fmla="*/ 8487918 w 8487918"/>
              <a:gd name="connsiteY0" fmla="*/ 131445 h 131445"/>
              <a:gd name="connsiteX1" fmla="*/ 7893939 w 8487918"/>
              <a:gd name="connsiteY1" fmla="*/ 129540 h 131445"/>
              <a:gd name="connsiteX2" fmla="*/ 7766304 w 8487918"/>
              <a:gd name="connsiteY2" fmla="*/ 0 h 131445"/>
              <a:gd name="connsiteX3" fmla="*/ 7638288 w 8487918"/>
              <a:gd name="connsiteY3" fmla="*/ 128016 h 131445"/>
              <a:gd name="connsiteX4" fmla="*/ 0 w 8487918"/>
              <a:gd name="connsiteY4" fmla="*/ 128016 h 131445"/>
              <a:gd name="connsiteX0" fmla="*/ 8487918 w 8487918"/>
              <a:gd name="connsiteY0" fmla="*/ 12763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7918 w 8487918"/>
              <a:gd name="connsiteY0" fmla="*/ 131445 h 131445"/>
              <a:gd name="connsiteX1" fmla="*/ 7893939 w 8487918"/>
              <a:gd name="connsiteY1" fmla="*/ 129540 h 131445"/>
              <a:gd name="connsiteX2" fmla="*/ 7766304 w 8487918"/>
              <a:gd name="connsiteY2" fmla="*/ 0 h 131445"/>
              <a:gd name="connsiteX3" fmla="*/ 7638288 w 8487918"/>
              <a:gd name="connsiteY3" fmla="*/ 128016 h 131445"/>
              <a:gd name="connsiteX4" fmla="*/ 0 w 8487918"/>
              <a:gd name="connsiteY4" fmla="*/ 128016 h 131445"/>
              <a:gd name="connsiteX0" fmla="*/ 8487918 w 8487918"/>
              <a:gd name="connsiteY0" fmla="*/ 125730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7918 w 8487918"/>
              <a:gd name="connsiteY0" fmla="*/ 12763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6013 w 8486013"/>
              <a:gd name="connsiteY0" fmla="*/ 127635 h 129540"/>
              <a:gd name="connsiteX1" fmla="*/ 7893939 w 8486013"/>
              <a:gd name="connsiteY1" fmla="*/ 129540 h 129540"/>
              <a:gd name="connsiteX2" fmla="*/ 7766304 w 8486013"/>
              <a:gd name="connsiteY2" fmla="*/ 0 h 129540"/>
              <a:gd name="connsiteX3" fmla="*/ 7638288 w 8486013"/>
              <a:gd name="connsiteY3" fmla="*/ 128016 h 129540"/>
              <a:gd name="connsiteX4" fmla="*/ 0 w 8486013"/>
              <a:gd name="connsiteY4" fmla="*/ 128016 h 129540"/>
              <a:gd name="connsiteX0" fmla="*/ 8493633 w 8493633"/>
              <a:gd name="connsiteY0" fmla="*/ 127635 h 129540"/>
              <a:gd name="connsiteX1" fmla="*/ 7893939 w 8493633"/>
              <a:gd name="connsiteY1" fmla="*/ 129540 h 129540"/>
              <a:gd name="connsiteX2" fmla="*/ 7766304 w 8493633"/>
              <a:gd name="connsiteY2" fmla="*/ 0 h 129540"/>
              <a:gd name="connsiteX3" fmla="*/ 7638288 w 8493633"/>
              <a:gd name="connsiteY3" fmla="*/ 128016 h 129540"/>
              <a:gd name="connsiteX4" fmla="*/ 0 w 8493633"/>
              <a:gd name="connsiteY4" fmla="*/ 128016 h 129540"/>
              <a:gd name="connsiteX0" fmla="*/ 8493633 w 8493633"/>
              <a:gd name="connsiteY0" fmla="*/ 133350 h 133350"/>
              <a:gd name="connsiteX1" fmla="*/ 7893939 w 8493633"/>
              <a:gd name="connsiteY1" fmla="*/ 129540 h 133350"/>
              <a:gd name="connsiteX2" fmla="*/ 7766304 w 8493633"/>
              <a:gd name="connsiteY2" fmla="*/ 0 h 133350"/>
              <a:gd name="connsiteX3" fmla="*/ 7638288 w 8493633"/>
              <a:gd name="connsiteY3" fmla="*/ 128016 h 133350"/>
              <a:gd name="connsiteX4" fmla="*/ 0 w 8493633"/>
              <a:gd name="connsiteY4" fmla="*/ 128016 h 133350"/>
              <a:gd name="connsiteX0" fmla="*/ 8487918 w 8487918"/>
              <a:gd name="connsiteY0" fmla="*/ 9334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91728 w 8491728"/>
              <a:gd name="connsiteY0" fmla="*/ 129540 h 129540"/>
              <a:gd name="connsiteX1" fmla="*/ 7893939 w 8491728"/>
              <a:gd name="connsiteY1" fmla="*/ 129540 h 129540"/>
              <a:gd name="connsiteX2" fmla="*/ 7766304 w 8491728"/>
              <a:gd name="connsiteY2" fmla="*/ 0 h 129540"/>
              <a:gd name="connsiteX3" fmla="*/ 7638288 w 8491728"/>
              <a:gd name="connsiteY3" fmla="*/ 128016 h 129540"/>
              <a:gd name="connsiteX4" fmla="*/ 0 w 8491728"/>
              <a:gd name="connsiteY4" fmla="*/ 128016 h 129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91728" h="129540">
                <a:moveTo>
                  <a:pt x="8491728" y="129540"/>
                </a:moveTo>
                <a:lnTo>
                  <a:pt x="7893939" y="129540"/>
                </a:lnTo>
                <a:lnTo>
                  <a:pt x="7766304" y="0"/>
                </a:lnTo>
                <a:lnTo>
                  <a:pt x="7638288" y="128016"/>
                </a:lnTo>
                <a:lnTo>
                  <a:pt x="0" y="128016"/>
                </a:lnTo>
              </a:path>
            </a:pathLst>
          </a:custGeom>
          <a:noFill/>
          <a:ln w="12700"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2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72010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888">
          <p15:clr>
            <a:srgbClr val="FBAE40"/>
          </p15:clr>
        </p15:guide>
        <p15:guide id="4" pos="3715">
          <p15:clr>
            <a:srgbClr val="FBAE40"/>
          </p15:clr>
        </p15:guide>
        <p15:guide id="5" orient="horz" pos="778">
          <p15:clr>
            <a:srgbClr val="FBAE40"/>
          </p15:clr>
        </p15:guide>
        <p15:guide id="7" orient="horz" pos="3859" userDrawn="1">
          <p15:clr>
            <a:srgbClr val="FBAE40"/>
          </p15:clr>
        </p15:guide>
        <p15:guide id="8" pos="202">
          <p15:clr>
            <a:srgbClr val="FBAE40"/>
          </p15:clr>
        </p15:guide>
        <p15:guide id="9" pos="5558">
          <p15:clr>
            <a:srgbClr val="FBAE40"/>
          </p15:clr>
        </p15:guide>
        <p15:guide id="10" orient="horz" pos="202">
          <p15:clr>
            <a:srgbClr val="FBAE40"/>
          </p15:clr>
        </p15:guide>
        <p15:guide id="11" orient="horz" pos="4118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5FBD9F-E126-4A6F-ADD7-89B9A71894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pic>
        <p:nvPicPr>
          <p:cNvPr id="16" name="Nexus">
            <a:extLst>
              <a:ext uri="{FF2B5EF4-FFF2-40B4-BE49-F238E27FC236}">
                <a16:creationId xmlns:a16="http://schemas.microsoft.com/office/drawing/2014/main" id="{5AE76E74-9F83-47DE-B919-CC5EF4C1420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8278901" y="288612"/>
            <a:ext cx="640080" cy="640080"/>
          </a:xfrm>
          <a:prstGeom prst="rect">
            <a:avLst/>
          </a:prstGeom>
        </p:spPr>
      </p:pic>
      <p:sp>
        <p:nvSpPr>
          <p:cNvPr id="4" name="Content Placeholder 2"/>
          <p:cNvSpPr>
            <a:spLocks noGrp="1"/>
          </p:cNvSpPr>
          <p:nvPr userDrawn="1">
            <p:ph sz="half" idx="2"/>
          </p:nvPr>
        </p:nvSpPr>
        <p:spPr>
          <a:xfrm>
            <a:off x="320675" y="1235074"/>
            <a:ext cx="4114800" cy="4891089"/>
          </a:xfrm>
          <a:ln w="3175">
            <a:solidFill>
              <a:srgbClr val="172430"/>
            </a:solidFill>
          </a:ln>
        </p:spPr>
        <p:txBody>
          <a:bodyPr lIns="91440" tIns="548640" rIns="91440" bIns="274320"/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ext Placeholder 3"/>
          <p:cNvSpPr>
            <a:spLocks noGrp="1"/>
          </p:cNvSpPr>
          <p:nvPr userDrawn="1">
            <p:ph type="body" idx="1" hasCustomPrompt="1"/>
          </p:nvPr>
        </p:nvSpPr>
        <p:spPr>
          <a:xfrm>
            <a:off x="320675" y="1235074"/>
            <a:ext cx="4114800" cy="369332"/>
          </a:xfrm>
          <a:solidFill>
            <a:srgbClr val="172430"/>
          </a:solidFill>
        </p:spPr>
        <p:txBody>
          <a:bodyPr lIns="91440" tIns="91440" rIns="91440" bIns="91440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200" b="1" cap="all" baseline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[BOX TITLE]</a:t>
            </a:r>
          </a:p>
        </p:txBody>
      </p:sp>
      <p:sp>
        <p:nvSpPr>
          <p:cNvPr id="6" name="Content Placeholder 4"/>
          <p:cNvSpPr>
            <a:spLocks noGrp="1"/>
          </p:cNvSpPr>
          <p:nvPr userDrawn="1">
            <p:ph sz="quarter" idx="4"/>
          </p:nvPr>
        </p:nvSpPr>
        <p:spPr>
          <a:xfrm>
            <a:off x="4708525" y="1235074"/>
            <a:ext cx="4114800" cy="4891089"/>
          </a:xfrm>
          <a:ln w="3175">
            <a:solidFill>
              <a:srgbClr val="172430"/>
            </a:solidFill>
          </a:ln>
        </p:spPr>
        <p:txBody>
          <a:bodyPr lIns="91440" tIns="548640" rIns="91440" bIns="274320"/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5"/>
          <p:cNvSpPr>
            <a:spLocks noGrp="1"/>
          </p:cNvSpPr>
          <p:nvPr userDrawn="1">
            <p:ph type="body" sz="quarter" idx="3" hasCustomPrompt="1"/>
          </p:nvPr>
        </p:nvSpPr>
        <p:spPr>
          <a:xfrm>
            <a:off x="4708525" y="1235074"/>
            <a:ext cx="4114800" cy="369332"/>
          </a:xfrm>
          <a:solidFill>
            <a:schemeClr val="accent1"/>
          </a:solidFill>
        </p:spPr>
        <p:txBody>
          <a:bodyPr lIns="91440" tIns="91440" rIns="91440" bIns="91440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200" b="1" cap="all" baseline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200" b="1" cap="all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[BOX TITLE]</a:t>
            </a:r>
          </a:p>
        </p:txBody>
      </p:sp>
      <p:sp>
        <p:nvSpPr>
          <p:cNvPr id="12" name="Footnotes">
            <a:extLst>
              <a:ext uri="{FF2B5EF4-FFF2-40B4-BE49-F238E27FC236}">
                <a16:creationId xmlns:a16="http://schemas.microsoft.com/office/drawing/2014/main" id="{A04E5A76-A6FD-CA49-8B50-6A5FAC170602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20674" y="6217920"/>
            <a:ext cx="8502649" cy="228638"/>
          </a:xfrm>
        </p:spPr>
        <p:txBody>
          <a:bodyPr anchor="b" anchorCtr="0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700">
                <a:solidFill>
                  <a:schemeClr val="bg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dirty="0"/>
              <a:t>[Footnotes/references if needed]</a:t>
            </a: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4FE5010A-D6D9-4CB9-BBEB-F577B7E0B133}"/>
              </a:ext>
            </a:extLst>
          </p:cNvPr>
          <p:cNvSpPr/>
          <p:nvPr userDrawn="1"/>
        </p:nvSpPr>
        <p:spPr>
          <a:xfrm>
            <a:off x="323086" y="829818"/>
            <a:ext cx="8491728" cy="129540"/>
          </a:xfrm>
          <a:custGeom>
            <a:avLst/>
            <a:gdLst>
              <a:gd name="connsiteX0" fmla="*/ 8491728 w 8491728"/>
              <a:gd name="connsiteY0" fmla="*/ 121920 h 128016"/>
              <a:gd name="connsiteX1" fmla="*/ 7888224 w 8491728"/>
              <a:gd name="connsiteY1" fmla="*/ 121920 h 128016"/>
              <a:gd name="connsiteX2" fmla="*/ 7766304 w 8491728"/>
              <a:gd name="connsiteY2" fmla="*/ 0 h 128016"/>
              <a:gd name="connsiteX3" fmla="*/ 7638288 w 8491728"/>
              <a:gd name="connsiteY3" fmla="*/ 128016 h 128016"/>
              <a:gd name="connsiteX4" fmla="*/ 0 w 8491728"/>
              <a:gd name="connsiteY4" fmla="*/ 128016 h 128016"/>
              <a:gd name="connsiteX0" fmla="*/ 8491728 w 8491728"/>
              <a:gd name="connsiteY0" fmla="*/ 121920 h 129540"/>
              <a:gd name="connsiteX1" fmla="*/ 7893939 w 8491728"/>
              <a:gd name="connsiteY1" fmla="*/ 129540 h 129540"/>
              <a:gd name="connsiteX2" fmla="*/ 7766304 w 8491728"/>
              <a:gd name="connsiteY2" fmla="*/ 0 h 129540"/>
              <a:gd name="connsiteX3" fmla="*/ 7638288 w 8491728"/>
              <a:gd name="connsiteY3" fmla="*/ 128016 h 129540"/>
              <a:gd name="connsiteX4" fmla="*/ 0 w 8491728"/>
              <a:gd name="connsiteY4" fmla="*/ 128016 h 129540"/>
              <a:gd name="connsiteX0" fmla="*/ 8491728 w 8491728"/>
              <a:gd name="connsiteY0" fmla="*/ 133350 h 133350"/>
              <a:gd name="connsiteX1" fmla="*/ 7893939 w 8491728"/>
              <a:gd name="connsiteY1" fmla="*/ 129540 h 133350"/>
              <a:gd name="connsiteX2" fmla="*/ 7766304 w 8491728"/>
              <a:gd name="connsiteY2" fmla="*/ 0 h 133350"/>
              <a:gd name="connsiteX3" fmla="*/ 7638288 w 8491728"/>
              <a:gd name="connsiteY3" fmla="*/ 128016 h 133350"/>
              <a:gd name="connsiteX4" fmla="*/ 0 w 8491728"/>
              <a:gd name="connsiteY4" fmla="*/ 128016 h 133350"/>
              <a:gd name="connsiteX0" fmla="*/ 8489823 w 8489823"/>
              <a:gd name="connsiteY0" fmla="*/ 127635 h 129540"/>
              <a:gd name="connsiteX1" fmla="*/ 7893939 w 8489823"/>
              <a:gd name="connsiteY1" fmla="*/ 129540 h 129540"/>
              <a:gd name="connsiteX2" fmla="*/ 7766304 w 8489823"/>
              <a:gd name="connsiteY2" fmla="*/ 0 h 129540"/>
              <a:gd name="connsiteX3" fmla="*/ 7638288 w 8489823"/>
              <a:gd name="connsiteY3" fmla="*/ 128016 h 129540"/>
              <a:gd name="connsiteX4" fmla="*/ 0 w 8489823"/>
              <a:gd name="connsiteY4" fmla="*/ 128016 h 129540"/>
              <a:gd name="connsiteX0" fmla="*/ 8487918 w 8487918"/>
              <a:gd name="connsiteY0" fmla="*/ 131445 h 131445"/>
              <a:gd name="connsiteX1" fmla="*/ 7893939 w 8487918"/>
              <a:gd name="connsiteY1" fmla="*/ 129540 h 131445"/>
              <a:gd name="connsiteX2" fmla="*/ 7766304 w 8487918"/>
              <a:gd name="connsiteY2" fmla="*/ 0 h 131445"/>
              <a:gd name="connsiteX3" fmla="*/ 7638288 w 8487918"/>
              <a:gd name="connsiteY3" fmla="*/ 128016 h 131445"/>
              <a:gd name="connsiteX4" fmla="*/ 0 w 8487918"/>
              <a:gd name="connsiteY4" fmla="*/ 128016 h 131445"/>
              <a:gd name="connsiteX0" fmla="*/ 8487918 w 8487918"/>
              <a:gd name="connsiteY0" fmla="*/ 12763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7918 w 8487918"/>
              <a:gd name="connsiteY0" fmla="*/ 131445 h 131445"/>
              <a:gd name="connsiteX1" fmla="*/ 7893939 w 8487918"/>
              <a:gd name="connsiteY1" fmla="*/ 129540 h 131445"/>
              <a:gd name="connsiteX2" fmla="*/ 7766304 w 8487918"/>
              <a:gd name="connsiteY2" fmla="*/ 0 h 131445"/>
              <a:gd name="connsiteX3" fmla="*/ 7638288 w 8487918"/>
              <a:gd name="connsiteY3" fmla="*/ 128016 h 131445"/>
              <a:gd name="connsiteX4" fmla="*/ 0 w 8487918"/>
              <a:gd name="connsiteY4" fmla="*/ 128016 h 131445"/>
              <a:gd name="connsiteX0" fmla="*/ 8487918 w 8487918"/>
              <a:gd name="connsiteY0" fmla="*/ 125730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7918 w 8487918"/>
              <a:gd name="connsiteY0" fmla="*/ 12763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86013 w 8486013"/>
              <a:gd name="connsiteY0" fmla="*/ 127635 h 129540"/>
              <a:gd name="connsiteX1" fmla="*/ 7893939 w 8486013"/>
              <a:gd name="connsiteY1" fmla="*/ 129540 h 129540"/>
              <a:gd name="connsiteX2" fmla="*/ 7766304 w 8486013"/>
              <a:gd name="connsiteY2" fmla="*/ 0 h 129540"/>
              <a:gd name="connsiteX3" fmla="*/ 7638288 w 8486013"/>
              <a:gd name="connsiteY3" fmla="*/ 128016 h 129540"/>
              <a:gd name="connsiteX4" fmla="*/ 0 w 8486013"/>
              <a:gd name="connsiteY4" fmla="*/ 128016 h 129540"/>
              <a:gd name="connsiteX0" fmla="*/ 8493633 w 8493633"/>
              <a:gd name="connsiteY0" fmla="*/ 127635 h 129540"/>
              <a:gd name="connsiteX1" fmla="*/ 7893939 w 8493633"/>
              <a:gd name="connsiteY1" fmla="*/ 129540 h 129540"/>
              <a:gd name="connsiteX2" fmla="*/ 7766304 w 8493633"/>
              <a:gd name="connsiteY2" fmla="*/ 0 h 129540"/>
              <a:gd name="connsiteX3" fmla="*/ 7638288 w 8493633"/>
              <a:gd name="connsiteY3" fmla="*/ 128016 h 129540"/>
              <a:gd name="connsiteX4" fmla="*/ 0 w 8493633"/>
              <a:gd name="connsiteY4" fmla="*/ 128016 h 129540"/>
              <a:gd name="connsiteX0" fmla="*/ 8493633 w 8493633"/>
              <a:gd name="connsiteY0" fmla="*/ 133350 h 133350"/>
              <a:gd name="connsiteX1" fmla="*/ 7893939 w 8493633"/>
              <a:gd name="connsiteY1" fmla="*/ 129540 h 133350"/>
              <a:gd name="connsiteX2" fmla="*/ 7766304 w 8493633"/>
              <a:gd name="connsiteY2" fmla="*/ 0 h 133350"/>
              <a:gd name="connsiteX3" fmla="*/ 7638288 w 8493633"/>
              <a:gd name="connsiteY3" fmla="*/ 128016 h 133350"/>
              <a:gd name="connsiteX4" fmla="*/ 0 w 8493633"/>
              <a:gd name="connsiteY4" fmla="*/ 128016 h 133350"/>
              <a:gd name="connsiteX0" fmla="*/ 8487918 w 8487918"/>
              <a:gd name="connsiteY0" fmla="*/ 93345 h 129540"/>
              <a:gd name="connsiteX1" fmla="*/ 7893939 w 8487918"/>
              <a:gd name="connsiteY1" fmla="*/ 129540 h 129540"/>
              <a:gd name="connsiteX2" fmla="*/ 7766304 w 8487918"/>
              <a:gd name="connsiteY2" fmla="*/ 0 h 129540"/>
              <a:gd name="connsiteX3" fmla="*/ 7638288 w 8487918"/>
              <a:gd name="connsiteY3" fmla="*/ 128016 h 129540"/>
              <a:gd name="connsiteX4" fmla="*/ 0 w 8487918"/>
              <a:gd name="connsiteY4" fmla="*/ 128016 h 129540"/>
              <a:gd name="connsiteX0" fmla="*/ 8491728 w 8491728"/>
              <a:gd name="connsiteY0" fmla="*/ 129540 h 129540"/>
              <a:gd name="connsiteX1" fmla="*/ 7893939 w 8491728"/>
              <a:gd name="connsiteY1" fmla="*/ 129540 h 129540"/>
              <a:gd name="connsiteX2" fmla="*/ 7766304 w 8491728"/>
              <a:gd name="connsiteY2" fmla="*/ 0 h 129540"/>
              <a:gd name="connsiteX3" fmla="*/ 7638288 w 8491728"/>
              <a:gd name="connsiteY3" fmla="*/ 128016 h 129540"/>
              <a:gd name="connsiteX4" fmla="*/ 0 w 8491728"/>
              <a:gd name="connsiteY4" fmla="*/ 128016 h 129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91728" h="129540">
                <a:moveTo>
                  <a:pt x="8491728" y="129540"/>
                </a:moveTo>
                <a:lnTo>
                  <a:pt x="7893939" y="129540"/>
                </a:lnTo>
                <a:lnTo>
                  <a:pt x="7766304" y="0"/>
                </a:lnTo>
                <a:lnTo>
                  <a:pt x="7638288" y="128016"/>
                </a:lnTo>
                <a:lnTo>
                  <a:pt x="0" y="128016"/>
                </a:lnTo>
              </a:path>
            </a:pathLst>
          </a:custGeom>
          <a:noFill/>
          <a:ln w="12700"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2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79441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94" userDrawn="1">
          <p15:clr>
            <a:srgbClr val="FBAE40"/>
          </p15:clr>
        </p15:guide>
        <p15:guide id="2" pos="2966" userDrawn="1">
          <p15:clr>
            <a:srgbClr val="FBAE40"/>
          </p15:clr>
        </p15:guide>
        <p15:guide id="3" orient="horz" pos="778" userDrawn="1">
          <p15:clr>
            <a:srgbClr val="FBAE40"/>
          </p15:clr>
        </p15:guide>
        <p15:guide id="6" orient="horz" pos="3859" userDrawn="1">
          <p15:clr>
            <a:srgbClr val="FBAE40"/>
          </p15:clr>
        </p15:guide>
        <p15:guide id="7" pos="202" userDrawn="1">
          <p15:clr>
            <a:srgbClr val="FBAE40"/>
          </p15:clr>
        </p15:guide>
        <p15:guide id="8" pos="5558" userDrawn="1">
          <p15:clr>
            <a:srgbClr val="FBAE40"/>
          </p15:clr>
        </p15:guide>
        <p15:guide id="9" orient="horz" pos="202" userDrawn="1">
          <p15:clr>
            <a:srgbClr val="FBAE40"/>
          </p15:clr>
        </p15:guide>
        <p15:guide id="10" orient="horz" pos="4118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0675" y="288612"/>
            <a:ext cx="7085965" cy="64008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/>
              <a:t>[Slide title]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0675" y="1235073"/>
            <a:ext cx="8502650" cy="4891389"/>
          </a:xfrm>
          <a:prstGeom prst="rect">
            <a:avLst/>
          </a:prstGeom>
        </p:spPr>
        <p:txBody>
          <a:bodyPr vert="horz" lIns="0" tIns="0" rIns="0" bIns="0" spcCol="2743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L3Harris">
            <a:extLst>
              <a:ext uri="{FF2B5EF4-FFF2-40B4-BE49-F238E27FC236}">
                <a16:creationId xmlns:a16="http://schemas.microsoft.com/office/drawing/2014/main" id="{73D42DAF-07B3-4D4E-A81D-6F16AC85723D}"/>
              </a:ext>
            </a:extLst>
          </p:cNvPr>
          <p:cNvSpPr txBox="1">
            <a:spLocks/>
          </p:cNvSpPr>
          <p:nvPr userDrawn="1"/>
        </p:nvSpPr>
        <p:spPr>
          <a:xfrm>
            <a:off x="320675" y="6629400"/>
            <a:ext cx="685165" cy="13716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/>
          <a:lstStyle>
            <a:defPPr>
              <a:defRPr lang="en-US"/>
            </a:defPPr>
            <a:lvl1pPr marL="0" algn="ctr" defTabSz="4572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00" b="1" cap="all" baseline="0" dirty="0"/>
              <a:t>L3HARRIS</a:t>
            </a:r>
          </a:p>
        </p:txBody>
      </p:sp>
      <p:cxnSp>
        <p:nvCxnSpPr>
          <p:cNvPr id="9" name="Line">
            <a:extLst>
              <a:ext uri="{FF2B5EF4-FFF2-40B4-BE49-F238E27FC236}">
                <a16:creationId xmlns:a16="http://schemas.microsoft.com/office/drawing/2014/main" id="{ACDEEBA9-F5A8-E84E-A2DF-025288C8C67D}"/>
              </a:ext>
            </a:extLst>
          </p:cNvPr>
          <p:cNvCxnSpPr>
            <a:cxnSpLocks/>
          </p:cNvCxnSpPr>
          <p:nvPr userDrawn="1"/>
        </p:nvCxnSpPr>
        <p:spPr>
          <a:xfrm>
            <a:off x="320675" y="6537325"/>
            <a:ext cx="8502650" cy="0"/>
          </a:xfrm>
          <a:prstGeom prst="line">
            <a:avLst/>
          </a:prstGeom>
          <a:ln w="3175" cap="sq">
            <a:solidFill>
              <a:srgbClr val="1724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</p:cxnSp>
      <p:sp>
        <p:nvSpPr>
          <p:cNvPr id="10" name="Rectangle 30">
            <a:extLst>
              <a:ext uri="{FF2B5EF4-FFF2-40B4-BE49-F238E27FC236}">
                <a16:creationId xmlns:a16="http://schemas.microsoft.com/office/drawing/2014/main" id="{0366173C-4EBD-4BFE-9593-41628CFDAD2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610600" y="6536234"/>
            <a:ext cx="304801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 anchor="ctr"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9pPr>
          </a:lstStyle>
          <a:p>
            <a:pPr>
              <a:defRPr/>
            </a:pPr>
            <a:fld id="{5C639030-093B-4E7D-A320-B8A4D3F5EC3B}" type="slidenum">
              <a:rPr lang="en-US" sz="9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7">
            <a:extLst>
              <a:ext uri="{FF2B5EF4-FFF2-40B4-BE49-F238E27FC236}">
                <a16:creationId xmlns:a16="http://schemas.microsoft.com/office/drawing/2014/main" id="{277F55C9-270F-407A-B5D2-B0C8F6BDE1A5}"/>
              </a:ext>
            </a:extLst>
          </p:cNvPr>
          <p:cNvSpPr txBox="1"/>
          <p:nvPr userDrawn="1"/>
        </p:nvSpPr>
        <p:spPr>
          <a:xfrm>
            <a:off x="904805" y="6583020"/>
            <a:ext cx="3743395" cy="20005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algn="l"/>
            <a:r>
              <a: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F ECE L3Harris Talk</a:t>
            </a:r>
          </a:p>
        </p:txBody>
      </p:sp>
    </p:spTree>
    <p:extLst>
      <p:ext uri="{BB962C8B-B14F-4D97-AF65-F5344CB8AC3E}">
        <p14:creationId xmlns:p14="http://schemas.microsoft.com/office/powerpoint/2010/main" val="40382208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7" r:id="rId2"/>
    <p:sldLayoutId id="2147483674" r:id="rId3"/>
    <p:sldLayoutId id="2147483662" r:id="rId4"/>
    <p:sldLayoutId id="2147483664" r:id="rId5"/>
    <p:sldLayoutId id="2147483668" r:id="rId6"/>
    <p:sldLayoutId id="2147483669" r:id="rId7"/>
    <p:sldLayoutId id="2147483670" r:id="rId8"/>
    <p:sldLayoutId id="2147483665" r:id="rId9"/>
    <p:sldLayoutId id="2147483671" r:id="rId10"/>
    <p:sldLayoutId id="2147483673" r:id="rId11"/>
    <p:sldLayoutId id="2147483676" r:id="rId12"/>
    <p:sldLayoutId id="2147483663" r:id="rId13"/>
    <p:sldLayoutId id="2147483666" r:id="rId14"/>
    <p:sldLayoutId id="2147483667" r:id="rId15"/>
    <p:sldLayoutId id="2147483675" r:id="rId16"/>
  </p:sldLayoutIdLst>
  <p:hf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2400" b="1" kern="1200" spc="-2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3736" indent="-173736" algn="l" defTabSz="914400" rtl="0" eaLnBrk="1" latinLnBrk="0" hangingPunct="1">
        <a:lnSpc>
          <a:spcPct val="100000"/>
        </a:lnSpc>
        <a:spcBef>
          <a:spcPts val="9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47472" indent="-173736" algn="l" defTabSz="914400" rtl="0" eaLnBrk="1" latinLnBrk="0" hangingPunct="1">
        <a:lnSpc>
          <a:spcPct val="100000"/>
        </a:lnSpc>
        <a:spcBef>
          <a:spcPts val="3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12064" indent="-173736" algn="l" defTabSz="914400" rtl="0" eaLnBrk="1" latinLnBrk="0" hangingPunct="1">
        <a:lnSpc>
          <a:spcPct val="100000"/>
        </a:lnSpc>
        <a:spcBef>
          <a:spcPts val="3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173736" algn="l" defTabSz="914400" rtl="0" eaLnBrk="1" latinLnBrk="0" hangingPunct="1">
        <a:lnSpc>
          <a:spcPct val="100000"/>
        </a:lnSpc>
        <a:spcBef>
          <a:spcPts val="3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59536" indent="-173736" algn="l" defTabSz="914400" rtl="0" eaLnBrk="1" latinLnBrk="0" hangingPunct="1">
        <a:lnSpc>
          <a:spcPct val="100000"/>
        </a:lnSpc>
        <a:spcBef>
          <a:spcPts val="3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24128" indent="-173736" algn="l" defTabSz="914400" rtl="0" eaLnBrk="1" latinLnBrk="0" hangingPunct="1">
        <a:lnSpc>
          <a:spcPct val="100000"/>
        </a:lnSpc>
        <a:spcBef>
          <a:spcPts val="3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197864" indent="-173736" algn="l" defTabSz="914400" rtl="0" eaLnBrk="1" latinLnBrk="0" hangingPunct="1">
        <a:lnSpc>
          <a:spcPct val="100000"/>
        </a:lnSpc>
        <a:spcBef>
          <a:spcPts val="3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73736" algn="l" defTabSz="914400" rtl="0" eaLnBrk="1" latinLnBrk="0" hangingPunct="1">
        <a:lnSpc>
          <a:spcPct val="100000"/>
        </a:lnSpc>
        <a:spcBef>
          <a:spcPts val="3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545336" indent="-173736" algn="l" defTabSz="914400" rtl="0" eaLnBrk="1" latinLnBrk="0" hangingPunct="1">
        <a:lnSpc>
          <a:spcPct val="100000"/>
        </a:lnSpc>
        <a:spcBef>
          <a:spcPts val="3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13" Type="http://schemas.openxmlformats.org/officeDocument/2006/relationships/image" Target="../media/image58.jpeg"/><Relationship Id="rId3" Type="http://schemas.openxmlformats.org/officeDocument/2006/relationships/image" Target="../media/image31.jpeg"/><Relationship Id="rId7" Type="http://schemas.openxmlformats.org/officeDocument/2006/relationships/image" Target="../media/image67.jpeg"/><Relationship Id="rId12" Type="http://schemas.openxmlformats.org/officeDocument/2006/relationships/image" Target="../media/image57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65.jpeg"/><Relationship Id="rId11" Type="http://schemas.openxmlformats.org/officeDocument/2006/relationships/image" Target="../media/image56.jpeg"/><Relationship Id="rId5" Type="http://schemas.openxmlformats.org/officeDocument/2006/relationships/image" Target="../media/image62.jpeg"/><Relationship Id="rId10" Type="http://schemas.openxmlformats.org/officeDocument/2006/relationships/image" Target="../media/image50.png"/><Relationship Id="rId4" Type="http://schemas.openxmlformats.org/officeDocument/2006/relationships/image" Target="../media/image76.jpeg"/><Relationship Id="rId9" Type="http://schemas.openxmlformats.org/officeDocument/2006/relationships/image" Target="../media/image4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jpeg"/><Relationship Id="rId2" Type="http://schemas.openxmlformats.org/officeDocument/2006/relationships/hyperlink" Target="mailto:Dean.Morrison@L3Harris.com" TargetMode="Externa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13" Type="http://schemas.openxmlformats.org/officeDocument/2006/relationships/image" Target="../media/image13.png"/><Relationship Id="rId18" Type="http://schemas.openxmlformats.org/officeDocument/2006/relationships/image" Target="../media/image17.svg"/><Relationship Id="rId3" Type="http://schemas.openxmlformats.org/officeDocument/2006/relationships/image" Target="../media/image8.jpeg"/><Relationship Id="rId7" Type="http://schemas.openxmlformats.org/officeDocument/2006/relationships/diagramColors" Target="../diagrams/colors1.xml"/><Relationship Id="rId12" Type="http://schemas.openxmlformats.org/officeDocument/2006/relationships/image" Target="../media/image12.svg"/><Relationship Id="rId17" Type="http://schemas.openxmlformats.org/officeDocument/2006/relationships/image" Target="../media/image16.png"/><Relationship Id="rId2" Type="http://schemas.openxmlformats.org/officeDocument/2006/relationships/notesSlide" Target="../notesSlides/notesSlide1.xml"/><Relationship Id="rId16" Type="http://schemas.microsoft.com/office/2007/relationships/hdphoto" Target="../media/hdphoto1.wdp"/><Relationship Id="rId1" Type="http://schemas.openxmlformats.org/officeDocument/2006/relationships/slideLayout" Target="../slideLayouts/slideLayout5.xml"/><Relationship Id="rId6" Type="http://schemas.openxmlformats.org/officeDocument/2006/relationships/diagramQuickStyle" Target="../diagrams/quickStyle1.xml"/><Relationship Id="rId11" Type="http://schemas.openxmlformats.org/officeDocument/2006/relationships/image" Target="../media/image11.png"/><Relationship Id="rId5" Type="http://schemas.openxmlformats.org/officeDocument/2006/relationships/diagramLayout" Target="../diagrams/layout1.xml"/><Relationship Id="rId15" Type="http://schemas.openxmlformats.org/officeDocument/2006/relationships/image" Target="../media/image15.png"/><Relationship Id="rId10" Type="http://schemas.openxmlformats.org/officeDocument/2006/relationships/image" Target="../media/image10.svg"/><Relationship Id="rId4" Type="http://schemas.openxmlformats.org/officeDocument/2006/relationships/diagramData" Target="../diagrams/data1.xml"/><Relationship Id="rId9" Type="http://schemas.openxmlformats.org/officeDocument/2006/relationships/image" Target="../media/image9.png"/><Relationship Id="rId14" Type="http://schemas.openxmlformats.org/officeDocument/2006/relationships/image" Target="../media/image14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13" Type="http://schemas.openxmlformats.org/officeDocument/2006/relationships/image" Target="../media/image24.png"/><Relationship Id="rId3" Type="http://schemas.openxmlformats.org/officeDocument/2006/relationships/tags" Target="../tags/tag2.xml"/><Relationship Id="rId7" Type="http://schemas.openxmlformats.org/officeDocument/2006/relationships/image" Target="../media/image20.png"/><Relationship Id="rId12" Type="http://schemas.openxmlformats.org/officeDocument/2006/relationships/image" Target="../media/image23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9.png"/><Relationship Id="rId11" Type="http://schemas.openxmlformats.org/officeDocument/2006/relationships/image" Target="../media/image22.png"/><Relationship Id="rId5" Type="http://schemas.openxmlformats.org/officeDocument/2006/relationships/notesSlide" Target="../notesSlides/notesSlide2.xml"/><Relationship Id="rId15" Type="http://schemas.openxmlformats.org/officeDocument/2006/relationships/image" Target="../media/image26.png"/><Relationship Id="rId10" Type="http://schemas.openxmlformats.org/officeDocument/2006/relationships/image" Target="../media/image21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8.emf"/><Relationship Id="rId14" Type="http://schemas.openxmlformats.org/officeDocument/2006/relationships/image" Target="../media/image2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eg"/><Relationship Id="rId13" Type="http://schemas.openxmlformats.org/officeDocument/2006/relationships/image" Target="../media/image37.png"/><Relationship Id="rId3" Type="http://schemas.openxmlformats.org/officeDocument/2006/relationships/image" Target="../media/image27.jpeg"/><Relationship Id="rId7" Type="http://schemas.openxmlformats.org/officeDocument/2006/relationships/image" Target="../media/image31.jpeg"/><Relationship Id="rId12" Type="http://schemas.openxmlformats.org/officeDocument/2006/relationships/image" Target="../media/image36.sv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40.sv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0.jpeg"/><Relationship Id="rId11" Type="http://schemas.openxmlformats.org/officeDocument/2006/relationships/image" Target="../media/image35.png"/><Relationship Id="rId5" Type="http://schemas.openxmlformats.org/officeDocument/2006/relationships/image" Target="../media/image29.jpeg"/><Relationship Id="rId15" Type="http://schemas.openxmlformats.org/officeDocument/2006/relationships/image" Target="../media/image39.png"/><Relationship Id="rId10" Type="http://schemas.openxmlformats.org/officeDocument/2006/relationships/image" Target="../media/image34.svg"/><Relationship Id="rId4" Type="http://schemas.openxmlformats.org/officeDocument/2006/relationships/image" Target="../media/image28.jpeg"/><Relationship Id="rId9" Type="http://schemas.openxmlformats.org/officeDocument/2006/relationships/image" Target="../media/image33.png"/><Relationship Id="rId14" Type="http://schemas.openxmlformats.org/officeDocument/2006/relationships/image" Target="../media/image38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jpeg"/><Relationship Id="rId13" Type="http://schemas.openxmlformats.org/officeDocument/2006/relationships/image" Target="../media/image52.svg"/><Relationship Id="rId3" Type="http://schemas.openxmlformats.org/officeDocument/2006/relationships/image" Target="../media/image42.svg"/><Relationship Id="rId7" Type="http://schemas.openxmlformats.org/officeDocument/2006/relationships/image" Target="../media/image46.png"/><Relationship Id="rId12" Type="http://schemas.openxmlformats.org/officeDocument/2006/relationships/image" Target="../media/image51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5.png"/><Relationship Id="rId11" Type="http://schemas.openxmlformats.org/officeDocument/2006/relationships/image" Target="../media/image50.png"/><Relationship Id="rId5" Type="http://schemas.openxmlformats.org/officeDocument/2006/relationships/image" Target="../media/image44.jpeg"/><Relationship Id="rId15" Type="http://schemas.openxmlformats.org/officeDocument/2006/relationships/image" Target="../media/image54.svg"/><Relationship Id="rId10" Type="http://schemas.openxmlformats.org/officeDocument/2006/relationships/image" Target="../media/image49.jpeg"/><Relationship Id="rId4" Type="http://schemas.openxmlformats.org/officeDocument/2006/relationships/image" Target="../media/image43.jpeg"/><Relationship Id="rId9" Type="http://schemas.openxmlformats.org/officeDocument/2006/relationships/image" Target="../media/image48.png"/><Relationship Id="rId14" Type="http://schemas.openxmlformats.org/officeDocument/2006/relationships/image" Target="../media/image5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jpeg"/><Relationship Id="rId13" Type="http://schemas.openxmlformats.org/officeDocument/2006/relationships/image" Target="../media/image66.jpeg"/><Relationship Id="rId3" Type="http://schemas.openxmlformats.org/officeDocument/2006/relationships/image" Target="../media/image56.jpeg"/><Relationship Id="rId7" Type="http://schemas.openxmlformats.org/officeDocument/2006/relationships/image" Target="../media/image60.jpeg"/><Relationship Id="rId12" Type="http://schemas.openxmlformats.org/officeDocument/2006/relationships/image" Target="../media/image65.jpe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9.png"/><Relationship Id="rId11" Type="http://schemas.openxmlformats.org/officeDocument/2006/relationships/image" Target="../media/image64.jpeg"/><Relationship Id="rId5" Type="http://schemas.openxmlformats.org/officeDocument/2006/relationships/image" Target="../media/image58.jpeg"/><Relationship Id="rId10" Type="http://schemas.openxmlformats.org/officeDocument/2006/relationships/image" Target="../media/image63.jpeg"/><Relationship Id="rId4" Type="http://schemas.openxmlformats.org/officeDocument/2006/relationships/image" Target="../media/image57.jpeg"/><Relationship Id="rId9" Type="http://schemas.openxmlformats.org/officeDocument/2006/relationships/image" Target="../media/image62.jpeg"/><Relationship Id="rId14" Type="http://schemas.openxmlformats.org/officeDocument/2006/relationships/image" Target="../media/image67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jp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73.gif"/><Relationship Id="rId5" Type="http://schemas.openxmlformats.org/officeDocument/2006/relationships/image" Target="../media/image72.jpeg"/><Relationship Id="rId4" Type="http://schemas.openxmlformats.org/officeDocument/2006/relationships/image" Target="../media/image7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75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3F7C250-B25B-F84A-8F97-6559936072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199" y="4297681"/>
            <a:ext cx="6572775" cy="822959"/>
          </a:xfrm>
        </p:spPr>
        <p:txBody>
          <a:bodyPr/>
          <a:lstStyle/>
          <a:p>
            <a:r>
              <a:rPr lang="en-US" spc="-40" dirty="0"/>
              <a:t>FPGA Design Opportuniti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72E88E1-46C3-DA40-B3C9-2E2332E847F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@ L3Harris </a:t>
            </a:r>
            <a:r>
              <a:rPr lang="en-US" i="1" dirty="0"/>
              <a:t>Space and Airborne Systems (SAS)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201C06A-43E4-DF47-B72F-CE3345B25FD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Spring, 2020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7CC036C5-50DA-7340-8612-2E1032B0F6C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b="1" cap="all" dirty="0"/>
              <a:t>Dean Morrison</a:t>
            </a:r>
            <a:r>
              <a:rPr lang="en-US" dirty="0"/>
              <a:t> | Sr. Manager, Electrical Engineering</a:t>
            </a:r>
          </a:p>
        </p:txBody>
      </p:sp>
    </p:spTree>
    <p:extLst>
      <p:ext uri="{BB962C8B-B14F-4D97-AF65-F5344CB8AC3E}">
        <p14:creationId xmlns:p14="http://schemas.microsoft.com/office/powerpoint/2010/main" val="23757393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600155-4C48-488B-BEF3-1FA9CC61CF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estions?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ACEC3BC-65AC-4E62-82C4-6DE53E346C9B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41B124-C93D-486E-85AC-2E61E4167A6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pace and Airborne Systems (SAS)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14FCAE0-3ECF-46BC-98E0-C474786D801C}"/>
              </a:ext>
            </a:extLst>
          </p:cNvPr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E0F2439-0BB9-44DF-8790-2AE163197DF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/>
              <a:t>(L3)Harris Technology Center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223F8F5-F6D9-423F-9ECF-E1B990E0DE6D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E540C23-06B3-4123-B3F8-569CAF8555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FPGA Disciplin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D0E994B3-50AD-44E3-9092-3F9FFA726313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D8A4DA2-9A29-4A8A-892E-128478F53A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Palm Bay, F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A0446DA-6153-4251-9EFB-73C0A1FDDBF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4" name="Picture 6" descr="Image result for l3 harris space and airborne systems">
            <a:extLst>
              <a:ext uri="{FF2B5EF4-FFF2-40B4-BE49-F238E27FC236}">
                <a16:creationId xmlns:a16="http://schemas.microsoft.com/office/drawing/2014/main" id="{647AE9B8-664A-4652-8922-686C79DD04C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16" r="10780"/>
          <a:stretch/>
        </p:blipFill>
        <p:spPr bwMode="auto">
          <a:xfrm>
            <a:off x="2276017" y="1636376"/>
            <a:ext cx="1004035" cy="19121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8" descr="Image result for l3 harris space and airborne systems">
            <a:extLst>
              <a:ext uri="{FF2B5EF4-FFF2-40B4-BE49-F238E27FC236}">
                <a16:creationId xmlns:a16="http://schemas.microsoft.com/office/drawing/2014/main" id="{A451C6A6-0F50-4C2D-B7F1-094EE682272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2735"/>
          <a:stretch/>
        </p:blipFill>
        <p:spPr bwMode="auto">
          <a:xfrm>
            <a:off x="320038" y="1636376"/>
            <a:ext cx="1923010" cy="19121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Image result for f35">
            <a:extLst>
              <a:ext uri="{FF2B5EF4-FFF2-40B4-BE49-F238E27FC236}">
                <a16:creationId xmlns:a16="http://schemas.microsoft.com/office/drawing/2014/main" id="{5AF49E43-2BE2-4235-9773-18791A93CAA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75" r="47289"/>
          <a:stretch/>
        </p:blipFill>
        <p:spPr bwMode="auto">
          <a:xfrm>
            <a:off x="3313023" y="1636376"/>
            <a:ext cx="1135023" cy="19121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Image result for harris technology center">
            <a:extLst>
              <a:ext uri="{FF2B5EF4-FFF2-40B4-BE49-F238E27FC236}">
                <a16:creationId xmlns:a16="http://schemas.microsoft.com/office/drawing/2014/main" id="{1492EB48-A732-47F5-A8E2-30FAD045C8D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02" r="1"/>
          <a:stretch/>
        </p:blipFill>
        <p:spPr bwMode="auto">
          <a:xfrm>
            <a:off x="4708526" y="1636376"/>
            <a:ext cx="2823734" cy="19121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0" descr="Related image">
            <a:extLst>
              <a:ext uri="{FF2B5EF4-FFF2-40B4-BE49-F238E27FC236}">
                <a16:creationId xmlns:a16="http://schemas.microsoft.com/office/drawing/2014/main" id="{801014F4-5DC9-4FA4-921E-A3EE0277DF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5231" y="1639201"/>
            <a:ext cx="1258092" cy="8400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867EECA8-74B7-4A48-89F0-16B84719EEE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5229" y="2509404"/>
            <a:ext cx="1258092" cy="1039101"/>
          </a:xfrm>
          <a:prstGeom prst="rect">
            <a:avLst/>
          </a:prstGeom>
        </p:spPr>
      </p:pic>
      <p:pic>
        <p:nvPicPr>
          <p:cNvPr id="22" name="Picture 4" descr="Related image">
            <a:extLst>
              <a:ext uri="{FF2B5EF4-FFF2-40B4-BE49-F238E27FC236}">
                <a16:creationId xmlns:a16="http://schemas.microsoft.com/office/drawing/2014/main" id="{67A907D6-1FB1-4F9D-87B7-B3D3F9A7343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570" t="8670" r="8143" b="24263"/>
          <a:stretch/>
        </p:blipFill>
        <p:spPr bwMode="auto">
          <a:xfrm>
            <a:off x="320038" y="5049617"/>
            <a:ext cx="1219837" cy="1076546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3" descr="C:\Documents and Settings\dmorri12\Desktop\untitled.bmp">
            <a:extLst>
              <a:ext uri="{FF2B5EF4-FFF2-40B4-BE49-F238E27FC236}">
                <a16:creationId xmlns:a16="http://schemas.microsoft.com/office/drawing/2014/main" id="{C0950DE4-2560-4215-ABF3-A5A460C8E69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/>
          <a:srcRect t="11938"/>
          <a:stretch/>
        </p:blipFill>
        <p:spPr bwMode="auto">
          <a:xfrm>
            <a:off x="1566672" y="4214034"/>
            <a:ext cx="2868804" cy="1912129"/>
          </a:xfrm>
          <a:prstGeom prst="rect">
            <a:avLst/>
          </a:prstGeom>
          <a:noFill/>
          <a:effectLst/>
        </p:spPr>
      </p:pic>
      <p:pic>
        <p:nvPicPr>
          <p:cNvPr id="27" name="Content Placeholder 5" descr="Screenshot-9.png">
            <a:extLst>
              <a:ext uri="{FF2B5EF4-FFF2-40B4-BE49-F238E27FC236}">
                <a16:creationId xmlns:a16="http://schemas.microsoft.com/office/drawing/2014/main" id="{204F2418-EA2F-4B57-A649-B6753EE89CD2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/>
          <a:srcRect t="1" r="50000" b="58806"/>
          <a:stretch/>
        </p:blipFill>
        <p:spPr>
          <a:xfrm>
            <a:off x="320037" y="4214034"/>
            <a:ext cx="1219838" cy="754335"/>
          </a:xfrm>
          <a:prstGeom prst="rect">
            <a:avLst/>
          </a:prstGeom>
          <a:noFill/>
          <a:ln w="28575">
            <a:noFill/>
          </a:ln>
          <a:effectLst/>
        </p:spPr>
      </p:pic>
      <p:pic>
        <p:nvPicPr>
          <p:cNvPr id="28" name="Picture 2" descr="Palm Bay is between Cocoa Beach and Vero Beach on Florida's Atlantic coast.">
            <a:extLst>
              <a:ext uri="{FF2B5EF4-FFF2-40B4-BE49-F238E27FC236}">
                <a16:creationId xmlns:a16="http://schemas.microsoft.com/office/drawing/2014/main" id="{3941A5FA-39CB-45E5-9D1D-3751E977586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344" r="24332" b="10062"/>
          <a:stretch/>
        </p:blipFill>
        <p:spPr bwMode="auto">
          <a:xfrm>
            <a:off x="4708526" y="4214033"/>
            <a:ext cx="1797049" cy="19140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4" descr="Image result for palm bay, fl">
            <a:extLst>
              <a:ext uri="{FF2B5EF4-FFF2-40B4-BE49-F238E27FC236}">
                <a16:creationId xmlns:a16="http://schemas.microsoft.com/office/drawing/2014/main" id="{450FDA35-C385-4C20-B7DC-BF21B62E894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02" r="33863"/>
          <a:stretch/>
        </p:blipFill>
        <p:spPr bwMode="auto">
          <a:xfrm>
            <a:off x="6542736" y="4214033"/>
            <a:ext cx="1425574" cy="19152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6" descr="Image result for epcot">
            <a:extLst>
              <a:ext uri="{FF2B5EF4-FFF2-40B4-BE49-F238E27FC236}">
                <a16:creationId xmlns:a16="http://schemas.microsoft.com/office/drawing/2014/main" id="{A371CB1D-181E-4AB1-95CF-ED38E3314B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572" r="5309"/>
          <a:stretch/>
        </p:blipFill>
        <p:spPr bwMode="auto">
          <a:xfrm>
            <a:off x="8005471" y="4214033"/>
            <a:ext cx="817850" cy="19086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8579468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EECA41B4-F469-4F0B-9179-7F6C997EC0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ested?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02279E12-4F95-4EE8-83D5-AC19F081AE3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ontact:</a:t>
            </a:r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endParaRPr lang="en-US" b="1" dirty="0"/>
          </a:p>
          <a:p>
            <a:pPr marL="0" indent="0" algn="ctr">
              <a:buNone/>
            </a:pPr>
            <a:r>
              <a:rPr lang="en-US" b="1" dirty="0"/>
              <a:t>Dean Morrison</a:t>
            </a:r>
            <a:br>
              <a:rPr lang="en-US" b="1" dirty="0"/>
            </a:br>
            <a:r>
              <a:rPr lang="en-US" dirty="0">
                <a:hlinkClick r:id="rId2"/>
              </a:rPr>
              <a:t>Dean.Morrison@L3Harris.com</a:t>
            </a:r>
            <a:endParaRPr lang="en-US" dirty="0"/>
          </a:p>
          <a:p>
            <a:pPr marL="0" indent="0" algn="ctr">
              <a:buNone/>
            </a:pPr>
            <a:r>
              <a:rPr lang="en-US" sz="1400" dirty="0"/>
              <a:t>[Please include a current copy of your resume]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705A14D-4F51-4850-9555-A6149FA9456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C0223B3-7BE4-4968-8827-D708D7641C92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9572" y="1536778"/>
            <a:ext cx="1624851" cy="189222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4292537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C2E18B7-B84D-AC4D-97B4-AB67A904DD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16690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31E8EB2E-B59E-4067-9AF4-FA98E53A6D95}"/>
              </a:ext>
            </a:extLst>
          </p:cNvPr>
          <p:cNvSpPr/>
          <p:nvPr/>
        </p:nvSpPr>
        <p:spPr>
          <a:xfrm>
            <a:off x="4708522" y="1230227"/>
            <a:ext cx="4114800" cy="246696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2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7D0733F-888A-489B-84FE-903EEE97CEE6}"/>
              </a:ext>
            </a:extLst>
          </p:cNvPr>
          <p:cNvSpPr/>
          <p:nvPr/>
        </p:nvSpPr>
        <p:spPr>
          <a:xfrm>
            <a:off x="320675" y="1234442"/>
            <a:ext cx="4114800" cy="246696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2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C5676D7-6E40-40AE-8370-0968B4DA11D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20674" y="1234440"/>
            <a:ext cx="4114800" cy="4983480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b="1" dirty="0">
                <a:solidFill>
                  <a:schemeClr val="bg1"/>
                </a:solidFill>
              </a:rPr>
              <a:t>Then ...</a:t>
            </a:r>
          </a:p>
          <a:p>
            <a:r>
              <a:rPr lang="en-US" dirty="0"/>
              <a:t>Graduated UF ECE in 2006 ...</a:t>
            </a:r>
          </a:p>
          <a:p>
            <a:pPr marL="0" indent="0" algn="ctr">
              <a:spcBef>
                <a:spcPts val="0"/>
              </a:spcBef>
              <a:buNone/>
            </a:pPr>
            <a:r>
              <a:rPr lang="en-US" dirty="0"/>
              <a:t>The </a:t>
            </a:r>
            <a:r>
              <a:rPr lang="en-US" i="1" dirty="0"/>
              <a:t>“Year of the Gators”</a:t>
            </a:r>
          </a:p>
          <a:p>
            <a:endParaRPr lang="en-US" i="1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sz="200" dirty="0"/>
          </a:p>
          <a:p>
            <a:r>
              <a:rPr lang="en-US" dirty="0"/>
              <a:t>Course interests ...</a:t>
            </a:r>
          </a:p>
          <a:p>
            <a:pPr lvl="1"/>
            <a:r>
              <a:rPr lang="en-US" dirty="0"/>
              <a:t>Digital Design</a:t>
            </a:r>
          </a:p>
          <a:p>
            <a:pPr lvl="1"/>
            <a:r>
              <a:rPr lang="en-US" dirty="0"/>
              <a:t>Digital Computer Architecture</a:t>
            </a:r>
          </a:p>
          <a:p>
            <a:pPr lvl="1"/>
            <a:r>
              <a:rPr lang="en-US" dirty="0"/>
              <a:t>Reconfigurable Computing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C25338C-B558-4968-9EE3-76216C5FDD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o is this guy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CFAA53-88ED-4711-B697-D8784B8B45DF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US" b="1" dirty="0">
                <a:solidFill>
                  <a:schemeClr val="bg1"/>
                </a:solidFill>
              </a:rPr>
              <a:t>... Now</a:t>
            </a:r>
          </a:p>
          <a:p>
            <a:r>
              <a:rPr lang="en-US" dirty="0"/>
              <a:t>FPGA Designer</a:t>
            </a:r>
          </a:p>
          <a:p>
            <a:r>
              <a:rPr lang="en-US" dirty="0"/>
              <a:t>Group Leader</a:t>
            </a:r>
          </a:p>
          <a:p>
            <a:r>
              <a:rPr lang="en-US" dirty="0"/>
              <a:t>Systems Engineer</a:t>
            </a:r>
          </a:p>
          <a:p>
            <a:r>
              <a:rPr lang="en-US" dirty="0"/>
              <a:t>FPGA Engineering Manager</a:t>
            </a:r>
          </a:p>
          <a:p>
            <a:endParaRPr lang="en-US" dirty="0"/>
          </a:p>
        </p:txBody>
      </p:sp>
      <p:pic>
        <p:nvPicPr>
          <p:cNvPr id="1026" name="Picture 2" descr="Image result for year of the gators sports illustrated">
            <a:extLst>
              <a:ext uri="{FF2B5EF4-FFF2-40B4-BE49-F238E27FC236}">
                <a16:creationId xmlns:a16="http://schemas.microsoft.com/office/drawing/2014/main" id="{BC70686F-7818-42F4-A495-B17CF38AF5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4095" y="2087473"/>
            <a:ext cx="2247957" cy="29675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89CFE0F2-C433-450B-BC1C-FCCF0CEE8B4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6766793"/>
              </p:ext>
            </p:extLst>
          </p:nvPr>
        </p:nvGraphicFramePr>
        <p:xfrm>
          <a:off x="4708522" y="2969703"/>
          <a:ext cx="4114800" cy="31564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2" name="Right Bracket 11">
            <a:extLst>
              <a:ext uri="{FF2B5EF4-FFF2-40B4-BE49-F238E27FC236}">
                <a16:creationId xmlns:a16="http://schemas.microsoft.com/office/drawing/2014/main" id="{7BBC3237-B82B-4EBB-B7B6-5C2CF23F500C}"/>
              </a:ext>
            </a:extLst>
          </p:cNvPr>
          <p:cNvSpPr/>
          <p:nvPr/>
        </p:nvSpPr>
        <p:spPr>
          <a:xfrm>
            <a:off x="8411071" y="5270500"/>
            <a:ext cx="45719" cy="1089218"/>
          </a:xfrm>
          <a:prstGeom prst="rightBracket">
            <a:avLst/>
          </a:prstGeom>
          <a:ln w="12700" cap="sq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rgbClr val="000000"/>
          </a:effectRef>
          <a:fontRef idx="minor">
            <a:schemeClr val="lt2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3F52B67-B9B7-4CEA-9B41-2760B4EBB720}"/>
              </a:ext>
            </a:extLst>
          </p:cNvPr>
          <p:cNvSpPr txBox="1"/>
          <p:nvPr/>
        </p:nvSpPr>
        <p:spPr>
          <a:xfrm>
            <a:off x="8495068" y="5577411"/>
            <a:ext cx="636232" cy="48474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>
              <a:lnSpc>
                <a:spcPct val="100000"/>
              </a:lnSpc>
              <a:spcBef>
                <a:spcPts val="900"/>
              </a:spcBef>
              <a:buSzPct val="100000"/>
            </a:pPr>
            <a:r>
              <a:rPr lang="en-US" sz="1050" dirty="0">
                <a:solidFill>
                  <a:schemeClr val="accent5"/>
                </a:solidFill>
              </a:rPr>
              <a:t>Over 300 FPGA designer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1977BD2-0E75-48EC-BAEA-74B1DED8AD1E}"/>
              </a:ext>
            </a:extLst>
          </p:cNvPr>
          <p:cNvGrpSpPr/>
          <p:nvPr/>
        </p:nvGrpSpPr>
        <p:grpSpPr>
          <a:xfrm>
            <a:off x="5711686" y="5668152"/>
            <a:ext cx="695579" cy="695579"/>
            <a:chOff x="3584432" y="1538457"/>
            <a:chExt cx="914400" cy="914400"/>
          </a:xfrm>
        </p:grpSpPr>
        <p:pic>
          <p:nvPicPr>
            <p:cNvPr id="15" name="Graphic 14" descr="Processor">
              <a:extLst>
                <a:ext uri="{FF2B5EF4-FFF2-40B4-BE49-F238E27FC236}">
                  <a16:creationId xmlns:a16="http://schemas.microsoft.com/office/drawing/2014/main" id="{2E2E6C84-F3A5-4254-81A5-50A20D333BC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584432" y="1538457"/>
              <a:ext cx="914400" cy="914400"/>
            </a:xfrm>
            <a:prstGeom prst="rect">
              <a:avLst/>
            </a:prstGeom>
          </p:spPr>
        </p:pic>
        <p:pic>
          <p:nvPicPr>
            <p:cNvPr id="17" name="Graphic 16" descr="Heartbeat">
              <a:extLst>
                <a:ext uri="{FF2B5EF4-FFF2-40B4-BE49-F238E27FC236}">
                  <a16:creationId xmlns:a16="http://schemas.microsoft.com/office/drawing/2014/main" id="{F6575CBD-A089-4BFE-B89C-1E51261AF1A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3881437" y="1834000"/>
              <a:ext cx="321261" cy="321261"/>
            </a:xfrm>
            <a:prstGeom prst="rect">
              <a:avLst/>
            </a:prstGeom>
          </p:spPr>
        </p:pic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201BFCCD-20D2-47A8-B9B2-DCD437E773AD}"/>
              </a:ext>
            </a:extLst>
          </p:cNvPr>
          <p:cNvGrpSpPr/>
          <p:nvPr/>
        </p:nvGrpSpPr>
        <p:grpSpPr>
          <a:xfrm>
            <a:off x="4772665" y="5673792"/>
            <a:ext cx="695579" cy="695579"/>
            <a:chOff x="7967646" y="1537430"/>
            <a:chExt cx="914400" cy="914400"/>
          </a:xfrm>
        </p:grpSpPr>
        <p:pic>
          <p:nvPicPr>
            <p:cNvPr id="19" name="Graphic 18" descr="Processor">
              <a:extLst>
                <a:ext uri="{FF2B5EF4-FFF2-40B4-BE49-F238E27FC236}">
                  <a16:creationId xmlns:a16="http://schemas.microsoft.com/office/drawing/2014/main" id="{5EEBB0A4-CA53-4BA8-A27F-B6BBEEDB180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7967646" y="1537430"/>
              <a:ext cx="914400" cy="914400"/>
            </a:xfrm>
            <a:prstGeom prst="rect">
              <a:avLst/>
            </a:prstGeom>
          </p:spPr>
        </p:pic>
        <p:pic>
          <p:nvPicPr>
            <p:cNvPr id="20" name="Graphic 19" descr="Transfer">
              <a:extLst>
                <a:ext uri="{FF2B5EF4-FFF2-40B4-BE49-F238E27FC236}">
                  <a16:creationId xmlns:a16="http://schemas.microsoft.com/office/drawing/2014/main" id="{0E331E66-B521-4AE3-98F0-021FCCAA71B2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8281987" y="1854343"/>
              <a:ext cx="284309" cy="284309"/>
            </a:xfrm>
            <a:prstGeom prst="rect">
              <a:avLst/>
            </a:prstGeom>
          </p:spPr>
        </p:pic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00484CA4-92A3-4AEF-96F1-BECAD2ED9AEA}"/>
              </a:ext>
            </a:extLst>
          </p:cNvPr>
          <p:cNvGrpSpPr/>
          <p:nvPr/>
        </p:nvGrpSpPr>
        <p:grpSpPr>
          <a:xfrm>
            <a:off x="6650707" y="5673791"/>
            <a:ext cx="695869" cy="695869"/>
            <a:chOff x="3584432" y="4124714"/>
            <a:chExt cx="914400" cy="914400"/>
          </a:xfrm>
        </p:grpSpPr>
        <p:pic>
          <p:nvPicPr>
            <p:cNvPr id="22" name="Graphic 21" descr="Processor">
              <a:extLst>
                <a:ext uri="{FF2B5EF4-FFF2-40B4-BE49-F238E27FC236}">
                  <a16:creationId xmlns:a16="http://schemas.microsoft.com/office/drawing/2014/main" id="{56A5AAA7-9E15-4A8E-B40E-D214901A7C1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584432" y="4124714"/>
              <a:ext cx="914400" cy="914400"/>
            </a:xfrm>
            <a:prstGeom prst="rect">
              <a:avLst/>
            </a:prstGeom>
          </p:spPr>
        </p:pic>
        <p:pic>
          <p:nvPicPr>
            <p:cNvPr id="23" name="Picture 8" descr="Image result for shield icon">
              <a:extLst>
                <a:ext uri="{FF2B5EF4-FFF2-40B4-BE49-F238E27FC236}">
                  <a16:creationId xmlns:a16="http://schemas.microsoft.com/office/drawing/2014/main" id="{CAF50613-E627-48F2-B2AD-0B9BF632BFF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BEBA8EAE-BF5A-486C-A8C5-ECC9F3942E4B}">
                  <a14:imgProps xmlns:a14="http://schemas.microsoft.com/office/drawing/2010/main">
                    <a14:imgLayer r:embed="rId16">
                      <a14:imgEffect>
                        <a14:brightnessContrast bright="100000" contras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53986" y="4479189"/>
              <a:ext cx="172235" cy="2050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72DE1984-0EB4-49DD-A84F-045679E6A050}"/>
              </a:ext>
            </a:extLst>
          </p:cNvPr>
          <p:cNvGrpSpPr/>
          <p:nvPr/>
        </p:nvGrpSpPr>
        <p:grpSpPr>
          <a:xfrm>
            <a:off x="7589728" y="5667862"/>
            <a:ext cx="695869" cy="695869"/>
            <a:chOff x="7966941" y="4124510"/>
            <a:chExt cx="914400" cy="914400"/>
          </a:xfrm>
        </p:grpSpPr>
        <p:pic>
          <p:nvPicPr>
            <p:cNvPr id="25" name="Graphic 24" descr="Processor">
              <a:extLst>
                <a:ext uri="{FF2B5EF4-FFF2-40B4-BE49-F238E27FC236}">
                  <a16:creationId xmlns:a16="http://schemas.microsoft.com/office/drawing/2014/main" id="{445FACC5-E7CF-4153-835A-98B8079C200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7966941" y="4124510"/>
              <a:ext cx="914400" cy="914400"/>
            </a:xfrm>
            <a:prstGeom prst="rect">
              <a:avLst/>
            </a:prstGeom>
          </p:spPr>
        </p:pic>
        <p:pic>
          <p:nvPicPr>
            <p:cNvPr id="26" name="Graphic 25" descr="Voice">
              <a:extLst>
                <a:ext uri="{FF2B5EF4-FFF2-40B4-BE49-F238E27FC236}">
                  <a16:creationId xmlns:a16="http://schemas.microsoft.com/office/drawing/2014/main" id="{BE607A08-3E38-4E81-B466-489CA96D7F0B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8301037" y="4458747"/>
              <a:ext cx="247651" cy="247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7883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3" grpId="0" build="p"/>
      <p:bldGraphic spid="6" grpId="0">
        <p:bldAsOne/>
      </p:bldGraphic>
      <p:bldP spid="12" grpId="0" animBg="1"/>
      <p:bldP spid="16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Related image">
            <a:extLst>
              <a:ext uri="{FF2B5EF4-FFF2-40B4-BE49-F238E27FC236}">
                <a16:creationId xmlns:a16="http://schemas.microsoft.com/office/drawing/2014/main" id="{717D4DE7-3DEE-4AE2-A530-E86440EA33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5016" y="1988422"/>
            <a:ext cx="2282688" cy="684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Image result for L3">
            <a:extLst>
              <a:ext uri="{FF2B5EF4-FFF2-40B4-BE49-F238E27FC236}">
                <a16:creationId xmlns:a16="http://schemas.microsoft.com/office/drawing/2014/main" id="{F866E68E-80AF-4DAA-AC1C-ECAB65EED9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674" y="1815063"/>
            <a:ext cx="1650440" cy="1031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9B00F2D1-3744-4DF0-B5F0-2627D2F1C96E}"/>
              </a:ext>
            </a:extLst>
          </p:cNvPr>
          <p:cNvSpPr/>
          <p:nvPr/>
        </p:nvSpPr>
        <p:spPr>
          <a:xfrm>
            <a:off x="320674" y="1843030"/>
            <a:ext cx="5023782" cy="981329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2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BCB92D72-D3C4-4C25-A1A5-9839EBD228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0675" y="288612"/>
            <a:ext cx="7085965" cy="640080"/>
          </a:xfrm>
        </p:spPr>
        <p:txBody>
          <a:bodyPr/>
          <a:lstStyle/>
          <a:p>
            <a:r>
              <a:rPr lang="en-US" dirty="0"/>
              <a:t>What’s L3Harris?</a:t>
            </a:r>
          </a:p>
        </p:txBody>
      </p:sp>
      <p:pic>
        <p:nvPicPr>
          <p:cNvPr id="209" name="Picture 208">
            <a:extLst>
              <a:ext uri="{FF2B5EF4-FFF2-40B4-BE49-F238E27FC236}">
                <a16:creationId xmlns:a16="http://schemas.microsoft.com/office/drawing/2014/main" id="{18F75E83-B773-4C5C-9019-44B71EB25BAF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082"/>
          <a:stretch/>
        </p:blipFill>
        <p:spPr>
          <a:xfrm>
            <a:off x="320674" y="3977791"/>
            <a:ext cx="4480420" cy="1201823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47CD616-78D6-4339-9C5D-F5BD93B6F1A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49640" y="6629400"/>
            <a:ext cx="273684" cy="13716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104C78-D882-4A72-8AA5-CB11ABE069A5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3" name="Isosceles Triangle 2">
            <a:extLst>
              <a:ext uri="{FF2B5EF4-FFF2-40B4-BE49-F238E27FC236}">
                <a16:creationId xmlns:a16="http://schemas.microsoft.com/office/drawing/2014/main" id="{B9950158-DEF3-40EE-9DFA-5BB3F2248358}"/>
              </a:ext>
            </a:extLst>
          </p:cNvPr>
          <p:cNvSpPr/>
          <p:nvPr/>
        </p:nvSpPr>
        <p:spPr>
          <a:xfrm rot="10800000">
            <a:off x="497134" y="3314403"/>
            <a:ext cx="4127499" cy="360218"/>
          </a:xfrm>
          <a:prstGeom prst="triangle">
            <a:avLst/>
          </a:prstGeom>
          <a:gradFill flip="none" rotWithShape="1">
            <a:gsLst>
              <a:gs pos="0">
                <a:schemeClr val="bg1">
                  <a:lumMod val="85000"/>
                </a:schemeClr>
              </a:gs>
              <a:gs pos="100000">
                <a:schemeClr val="bg1">
                  <a:lumMod val="85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2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66CC6A0-1201-41E6-BFBE-B8309AD486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261604" y="6035074"/>
            <a:ext cx="3561719" cy="123344"/>
          </a:xfrm>
        </p:spPr>
        <p:txBody>
          <a:bodyPr/>
          <a:lstStyle/>
          <a:p>
            <a:pPr algn="ctr"/>
            <a:r>
              <a:rPr lang="en-US" dirty="0"/>
              <a:t>The Motley Fool - Biggest Defense Companies in the Stock Market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F267D53F-8C49-43C7-8BE4-E5913F9EB6A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3131937"/>
              </p:ext>
            </p:extLst>
          </p:nvPr>
        </p:nvGraphicFramePr>
        <p:xfrm>
          <a:off x="5261605" y="1111534"/>
          <a:ext cx="3561718" cy="4923540"/>
        </p:xfrm>
        <a:graphic>
          <a:graphicData uri="http://schemas.openxmlformats.org/drawingml/2006/table">
            <a:tbl>
              <a:tblPr bandRow="1">
                <a:tableStyleId>{EA638B19-AF8F-4D81-84F4-C0FB9B5D45B4}</a:tableStyleId>
              </a:tblPr>
              <a:tblGrid>
                <a:gridCol w="2263320">
                  <a:extLst>
                    <a:ext uri="{9D8B030D-6E8A-4147-A177-3AD203B41FA5}">
                      <a16:colId xmlns:a16="http://schemas.microsoft.com/office/drawing/2014/main" val="1193934825"/>
                    </a:ext>
                  </a:extLst>
                </a:gridCol>
                <a:gridCol w="1298398">
                  <a:extLst>
                    <a:ext uri="{9D8B030D-6E8A-4147-A177-3AD203B41FA5}">
                      <a16:colId xmlns:a16="http://schemas.microsoft.com/office/drawing/2014/main" val="206062100"/>
                    </a:ext>
                  </a:extLst>
                </a:gridCol>
              </a:tblGrid>
              <a:tr h="82059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$56.5B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54635029"/>
                  </a:ext>
                </a:extLst>
              </a:tr>
              <a:tr h="82059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$31.7B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(defense only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50444246"/>
                  </a:ext>
                </a:extLst>
              </a:tr>
              <a:tr h="82059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$31.6B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18818552"/>
                  </a:ext>
                </a:extLst>
              </a:tr>
              <a:tr h="82059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$27.5B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70188561"/>
                  </a:ext>
                </a:extLst>
              </a:tr>
              <a:tr h="82059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$23.2B</a:t>
                      </a:r>
                    </a:p>
                    <a:p>
                      <a:r>
                        <a:rPr lang="en-US" sz="1100" dirty="0"/>
                        <a:t>(defense only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48791854"/>
                  </a:ext>
                </a:extLst>
              </a:tr>
              <a:tr h="82059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$16.0B </a:t>
                      </a:r>
                      <a:r>
                        <a:rPr lang="en-US" sz="1100" dirty="0"/>
                        <a:t>(estimate)</a:t>
                      </a:r>
                      <a:endParaRPr lang="en-US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86679478"/>
                  </a:ext>
                </a:extLst>
              </a:tr>
            </a:tbl>
          </a:graphicData>
        </a:graphic>
      </p:graphicFrame>
      <p:pic>
        <p:nvPicPr>
          <p:cNvPr id="36" name="Picture 35">
            <a:extLst>
              <a:ext uri="{FF2B5EF4-FFF2-40B4-BE49-F238E27FC236}">
                <a16:creationId xmlns:a16="http://schemas.microsoft.com/office/drawing/2014/main" id="{368485C8-B219-4CF0-8900-C81E083DE871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082"/>
          <a:stretch/>
        </p:blipFill>
        <p:spPr>
          <a:xfrm>
            <a:off x="5261605" y="5347319"/>
            <a:ext cx="2145035" cy="575382"/>
          </a:xfrm>
          <a:prstGeom prst="rect">
            <a:avLst/>
          </a:prstGeom>
        </p:spPr>
      </p:pic>
      <p:pic>
        <p:nvPicPr>
          <p:cNvPr id="1030" name="Picture 6" descr="Image result for lockheed martin logo">
            <a:extLst>
              <a:ext uri="{FF2B5EF4-FFF2-40B4-BE49-F238E27FC236}">
                <a16:creationId xmlns:a16="http://schemas.microsoft.com/office/drawing/2014/main" id="{446FD44F-0B17-4979-8979-E5B1BB4ABB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1605" y="1235054"/>
            <a:ext cx="2145035" cy="5828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7" name="Picture 13" descr="https://www.gd.com/-/media/GD-Corporate/Global/gd-logo.ashx?h=50&amp;w=722&amp;la=en&amp;hash=3086F8ECBBE59D13BCF9FD6BC3678D0C461B3A50">
            <a:extLst>
              <a:ext uri="{FF2B5EF4-FFF2-40B4-BE49-F238E27FC236}">
                <a16:creationId xmlns:a16="http://schemas.microsoft.com/office/drawing/2014/main" id="{34C54451-45BF-4811-A647-265A12373D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1605" y="2264421"/>
            <a:ext cx="2145035" cy="1485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3" name="Picture 19" descr="Image result for northrop grumman logo">
            <a:extLst>
              <a:ext uri="{FF2B5EF4-FFF2-40B4-BE49-F238E27FC236}">
                <a16:creationId xmlns:a16="http://schemas.microsoft.com/office/drawing/2014/main" id="{11AFCAB4-8DEC-46E8-A3AD-EBEAED4400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7704" y="2005496"/>
            <a:ext cx="3120394" cy="23402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5" name="Picture 21" descr="Image result for raytheon logo">
            <a:extLst>
              <a:ext uri="{FF2B5EF4-FFF2-40B4-BE49-F238E27FC236}">
                <a16:creationId xmlns:a16="http://schemas.microsoft.com/office/drawing/2014/main" id="{4D3B1C9F-79F9-4520-A990-A5237728F1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1606" y="3825886"/>
            <a:ext cx="1642534" cy="315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7" name="Picture 23" descr="Image result for boeing logo">
            <a:extLst>
              <a:ext uri="{FF2B5EF4-FFF2-40B4-BE49-F238E27FC236}">
                <a16:creationId xmlns:a16="http://schemas.microsoft.com/office/drawing/2014/main" id="{067C5CBD-8418-441D-93B8-5B5A518456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1604" y="4400101"/>
            <a:ext cx="2145035" cy="8092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Rectangle 46">
            <a:extLst>
              <a:ext uri="{FF2B5EF4-FFF2-40B4-BE49-F238E27FC236}">
                <a16:creationId xmlns:a16="http://schemas.microsoft.com/office/drawing/2014/main" id="{89B4C851-DE89-4A73-866F-A3D263F76D57}"/>
              </a:ext>
            </a:extLst>
          </p:cNvPr>
          <p:cNvSpPr/>
          <p:nvPr/>
        </p:nvSpPr>
        <p:spPr>
          <a:xfrm>
            <a:off x="5261604" y="1139897"/>
            <a:ext cx="3561718" cy="7616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2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04817F39-4D82-4F3E-AAFB-B6F7FEE06AA5}"/>
              </a:ext>
            </a:extLst>
          </p:cNvPr>
          <p:cNvSpPr/>
          <p:nvPr/>
        </p:nvSpPr>
        <p:spPr>
          <a:xfrm>
            <a:off x="5259533" y="1966374"/>
            <a:ext cx="3561718" cy="7616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2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8B0D4EF4-99B5-4345-9010-5552E7EF03B0}"/>
              </a:ext>
            </a:extLst>
          </p:cNvPr>
          <p:cNvSpPr/>
          <p:nvPr/>
        </p:nvSpPr>
        <p:spPr>
          <a:xfrm>
            <a:off x="5257462" y="2776073"/>
            <a:ext cx="3561718" cy="7616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2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EDF2536B-E09B-4907-8771-8AB591FC1186}"/>
              </a:ext>
            </a:extLst>
          </p:cNvPr>
          <p:cNvSpPr/>
          <p:nvPr/>
        </p:nvSpPr>
        <p:spPr>
          <a:xfrm>
            <a:off x="5255391" y="3602550"/>
            <a:ext cx="3561718" cy="7616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2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5AF526F0-4243-4906-979A-851D78310069}"/>
              </a:ext>
            </a:extLst>
          </p:cNvPr>
          <p:cNvSpPr/>
          <p:nvPr/>
        </p:nvSpPr>
        <p:spPr>
          <a:xfrm>
            <a:off x="5253320" y="4420638"/>
            <a:ext cx="3561718" cy="76161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2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53" name="Arrow: Chevron 52">
            <a:extLst>
              <a:ext uri="{FF2B5EF4-FFF2-40B4-BE49-F238E27FC236}">
                <a16:creationId xmlns:a16="http://schemas.microsoft.com/office/drawing/2014/main" id="{80DC7452-8EF6-401F-A780-FA8953970C5B}"/>
              </a:ext>
            </a:extLst>
          </p:cNvPr>
          <p:cNvSpPr/>
          <p:nvPr/>
        </p:nvSpPr>
        <p:spPr>
          <a:xfrm>
            <a:off x="4953000" y="5411482"/>
            <a:ext cx="188119" cy="447056"/>
          </a:xfrm>
          <a:prstGeom prst="chevron">
            <a:avLst/>
          </a:prstGeom>
          <a:solidFill>
            <a:schemeClr val="tx2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2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53539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000"/>
                            </p:stCondLst>
                            <p:childTnLst>
                              <p:par>
                                <p:cTn id="2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0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0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0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0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0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3" grpId="0" animBg="1"/>
      <p:bldP spid="11" grpId="0" build="p"/>
      <p:bldP spid="47" grpId="0" animBg="1"/>
      <p:bldP spid="48" grpId="0" animBg="1"/>
      <p:bldP spid="49" grpId="0" animBg="1"/>
      <p:bldP spid="50" grpId="0" animBg="1"/>
      <p:bldP spid="51" grpId="0" animBg="1"/>
      <p:bldP spid="53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F94E64-948C-4BB3-9562-53737587E2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do we do? [Space and Airborne Systems]</a:t>
            </a:r>
          </a:p>
        </p:txBody>
      </p:sp>
      <p:pic>
        <p:nvPicPr>
          <p:cNvPr id="9" name="Picture 2" descr="Completed assembly of the JWST's golden primary mirror segment.">
            <a:extLst>
              <a:ext uri="{FF2B5EF4-FFF2-40B4-BE49-F238E27FC236}">
                <a16:creationId xmlns:a16="http://schemas.microsoft.com/office/drawing/2014/main" id="{0EE248B3-400B-42A5-9E85-1CFBA03CCE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7515" y="4900356"/>
            <a:ext cx="1225807" cy="1225807"/>
          </a:xfrm>
          <a:prstGeom prst="rect">
            <a:avLst/>
          </a:prstGeom>
          <a:noFill/>
          <a:ln w="2857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Image result for aireon hosted payload">
            <a:extLst>
              <a:ext uri="{FF2B5EF4-FFF2-40B4-BE49-F238E27FC236}">
                <a16:creationId xmlns:a16="http://schemas.microsoft.com/office/drawing/2014/main" id="{2CAEBF82-421F-484D-97A4-C7978452E9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8500" y="1234438"/>
            <a:ext cx="1774821" cy="1774821"/>
          </a:xfrm>
          <a:prstGeom prst="rect">
            <a:avLst/>
          </a:prstGeom>
          <a:noFill/>
          <a:ln w="2857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Image result for james webb space telescope">
            <a:extLst>
              <a:ext uri="{FF2B5EF4-FFF2-40B4-BE49-F238E27FC236}">
                <a16:creationId xmlns:a16="http://schemas.microsoft.com/office/drawing/2014/main" id="{94699CC6-B518-476A-A8C4-D0E1F073C7D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43" b="9981"/>
          <a:stretch/>
        </p:blipFill>
        <p:spPr bwMode="auto">
          <a:xfrm>
            <a:off x="4708525" y="4747612"/>
            <a:ext cx="2863850" cy="13785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Image result for l3 harris space and airborne systems">
            <a:extLst>
              <a:ext uri="{FF2B5EF4-FFF2-40B4-BE49-F238E27FC236}">
                <a16:creationId xmlns:a16="http://schemas.microsoft.com/office/drawing/2014/main" id="{573B6518-240A-4F85-8416-C281FBD60C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7516" y="3032125"/>
            <a:ext cx="1225807" cy="18420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Image result for l3 harris space and airborne systems">
            <a:extLst>
              <a:ext uri="{FF2B5EF4-FFF2-40B4-BE49-F238E27FC236}">
                <a16:creationId xmlns:a16="http://schemas.microsoft.com/office/drawing/2014/main" id="{64549631-3814-495E-A971-3A04EFB13B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8523" y="1234437"/>
            <a:ext cx="2310125" cy="17748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Image result for f35">
            <a:extLst>
              <a:ext uri="{FF2B5EF4-FFF2-40B4-BE49-F238E27FC236}">
                <a16:creationId xmlns:a16="http://schemas.microsoft.com/office/drawing/2014/main" id="{1F538936-B9A0-4BE1-8D19-2FFEBC0356E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3" r="4041"/>
          <a:stretch/>
        </p:blipFill>
        <p:spPr bwMode="auto">
          <a:xfrm>
            <a:off x="4708523" y="3032125"/>
            <a:ext cx="2863852" cy="16934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692C40-2F75-40E4-870D-7C7E13793D5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343024" y="1234441"/>
            <a:ext cx="3092449" cy="1299210"/>
          </a:xfrm>
        </p:spPr>
        <p:txBody>
          <a:bodyPr>
            <a:normAutofit/>
          </a:bodyPr>
          <a:lstStyle/>
          <a:p>
            <a:pPr marL="0" lvl="0" indent="0">
              <a:spcBef>
                <a:spcPts val="300"/>
              </a:spcBef>
              <a:buNone/>
            </a:pPr>
            <a:r>
              <a:rPr lang="en-US" sz="1400" b="1" dirty="0"/>
              <a:t>Customers</a:t>
            </a:r>
          </a:p>
          <a:p>
            <a:pPr>
              <a:spcBef>
                <a:spcPts val="300"/>
              </a:spcBef>
            </a:pPr>
            <a:r>
              <a:rPr lang="en-US" sz="1200" dirty="0"/>
              <a:t>Government</a:t>
            </a:r>
          </a:p>
          <a:p>
            <a:pPr>
              <a:spcBef>
                <a:spcPts val="300"/>
              </a:spcBef>
            </a:pPr>
            <a:r>
              <a:rPr lang="en-US" sz="1200" dirty="0"/>
              <a:t>Commercia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E893175-8521-421D-97C1-F29FD870B6C9}"/>
              </a:ext>
            </a:extLst>
          </p:cNvPr>
          <p:cNvSpPr txBox="1">
            <a:spLocks/>
          </p:cNvSpPr>
          <p:nvPr/>
        </p:nvSpPr>
        <p:spPr>
          <a:xfrm>
            <a:off x="1343024" y="2533651"/>
            <a:ext cx="3092449" cy="1299210"/>
          </a:xfrm>
          <a:prstGeom prst="rect">
            <a:avLst/>
          </a:prstGeom>
        </p:spPr>
        <p:txBody>
          <a:bodyPr vert="horz" lIns="0" tIns="0" rIns="0" bIns="0" spcCol="274320" rtlCol="0">
            <a:normAutofit/>
          </a:bodyPr>
          <a:lstStyle>
            <a:lvl1pPr marL="173736" indent="-173736" algn="l" defTabSz="914400" rtl="0" eaLnBrk="1" latinLnBrk="0" hangingPunct="1">
              <a:lnSpc>
                <a:spcPct val="10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7472" indent="-173736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2064" indent="-173736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173736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9536" indent="-173736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4128" indent="-173736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97864" indent="-173736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73736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45336" indent="-173736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ts val="300"/>
              </a:spcBef>
              <a:buNone/>
            </a:pPr>
            <a:r>
              <a:rPr lang="en-US" sz="1400" b="1" dirty="0"/>
              <a:t>Missions</a:t>
            </a:r>
          </a:p>
          <a:p>
            <a:pPr>
              <a:spcBef>
                <a:spcPts val="300"/>
              </a:spcBef>
            </a:pPr>
            <a:r>
              <a:rPr lang="en-US" sz="1200" dirty="0"/>
              <a:t>Protecting national security</a:t>
            </a:r>
          </a:p>
          <a:p>
            <a:pPr>
              <a:spcBef>
                <a:spcPts val="300"/>
              </a:spcBef>
            </a:pPr>
            <a:r>
              <a:rPr lang="en-US" sz="1200" dirty="0"/>
              <a:t>Exploring the universe</a:t>
            </a:r>
          </a:p>
          <a:p>
            <a:pPr>
              <a:spcBef>
                <a:spcPts val="300"/>
              </a:spcBef>
            </a:pPr>
            <a:r>
              <a:rPr lang="en-US" sz="1200" dirty="0"/>
              <a:t>Providing insights for better business decisions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DEE4C89-098C-4B2E-9BF2-5DAF3A08B620}"/>
              </a:ext>
            </a:extLst>
          </p:cNvPr>
          <p:cNvSpPr txBox="1">
            <a:spLocks/>
          </p:cNvSpPr>
          <p:nvPr/>
        </p:nvSpPr>
        <p:spPr>
          <a:xfrm>
            <a:off x="1343024" y="3832861"/>
            <a:ext cx="3092449" cy="1299210"/>
          </a:xfrm>
          <a:prstGeom prst="rect">
            <a:avLst/>
          </a:prstGeom>
        </p:spPr>
        <p:txBody>
          <a:bodyPr vert="horz" lIns="0" tIns="0" rIns="0" bIns="0" spcCol="274320" rtlCol="0">
            <a:noAutofit/>
          </a:bodyPr>
          <a:lstStyle>
            <a:lvl1pPr marL="173736" indent="-173736" algn="l" defTabSz="914400" rtl="0" eaLnBrk="1" latinLnBrk="0" hangingPunct="1">
              <a:lnSpc>
                <a:spcPct val="10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7472" indent="-173736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2064" indent="-173736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173736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9536" indent="-173736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4128" indent="-173736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97864" indent="-173736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73736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45336" indent="-173736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ts val="300"/>
              </a:spcBef>
              <a:buNone/>
            </a:pPr>
            <a:r>
              <a:rPr lang="en-US" sz="1400" b="1" dirty="0"/>
              <a:t>Solutions</a:t>
            </a:r>
          </a:p>
          <a:p>
            <a:pPr>
              <a:spcBef>
                <a:spcPts val="300"/>
              </a:spcBef>
            </a:pPr>
            <a:r>
              <a:rPr lang="en-US" sz="1200" dirty="0"/>
              <a:t>Reconfigurable multi-mission electronics</a:t>
            </a:r>
          </a:p>
          <a:p>
            <a:pPr>
              <a:spcBef>
                <a:spcPts val="300"/>
              </a:spcBef>
            </a:pPr>
            <a:r>
              <a:rPr lang="en-US" sz="1200" dirty="0"/>
              <a:t>On-board processing</a:t>
            </a:r>
          </a:p>
          <a:p>
            <a:pPr>
              <a:spcBef>
                <a:spcPts val="300"/>
              </a:spcBef>
            </a:pPr>
            <a:r>
              <a:rPr lang="en-US" sz="1200" dirty="0"/>
              <a:t>Applications for ISR, communications, secure networks, electronics warfare, ...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C6D0993-768A-49CE-AE00-05039351A11F}"/>
              </a:ext>
            </a:extLst>
          </p:cNvPr>
          <p:cNvSpPr txBox="1">
            <a:spLocks/>
          </p:cNvSpPr>
          <p:nvPr/>
        </p:nvSpPr>
        <p:spPr>
          <a:xfrm>
            <a:off x="1343024" y="5132071"/>
            <a:ext cx="3092449" cy="1299210"/>
          </a:xfrm>
          <a:prstGeom prst="rect">
            <a:avLst/>
          </a:prstGeom>
        </p:spPr>
        <p:txBody>
          <a:bodyPr vert="horz" lIns="0" tIns="0" rIns="0" bIns="0" spcCol="274320" rtlCol="0">
            <a:noAutofit/>
          </a:bodyPr>
          <a:lstStyle>
            <a:lvl1pPr marL="173736" indent="-173736" algn="l" defTabSz="914400" rtl="0" eaLnBrk="1" latinLnBrk="0" hangingPunct="1">
              <a:lnSpc>
                <a:spcPct val="10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7472" indent="-173736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2064" indent="-173736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173736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9536" indent="-173736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4128" indent="-173736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97864" indent="-173736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73736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45336" indent="-173736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ts val="300"/>
              </a:spcBef>
              <a:buNone/>
            </a:pPr>
            <a:r>
              <a:rPr lang="en-US" sz="1400" b="1" dirty="0"/>
              <a:t>Platforms</a:t>
            </a:r>
          </a:p>
          <a:p>
            <a:pPr>
              <a:spcBef>
                <a:spcPts val="300"/>
              </a:spcBef>
            </a:pPr>
            <a:r>
              <a:rPr lang="en-US" sz="1200" dirty="0"/>
              <a:t>Microelectronics</a:t>
            </a:r>
          </a:p>
          <a:p>
            <a:pPr>
              <a:spcBef>
                <a:spcPts val="300"/>
              </a:spcBef>
            </a:pPr>
            <a:r>
              <a:rPr lang="en-US" sz="1200" dirty="0"/>
              <a:t>Sensors/Instruments</a:t>
            </a:r>
          </a:p>
          <a:p>
            <a:pPr>
              <a:spcBef>
                <a:spcPts val="300"/>
              </a:spcBef>
            </a:pPr>
            <a:r>
              <a:rPr lang="en-US" sz="1200" dirty="0"/>
              <a:t>Payloads</a:t>
            </a:r>
          </a:p>
          <a:p>
            <a:pPr>
              <a:spcBef>
                <a:spcPts val="300"/>
              </a:spcBef>
            </a:pPr>
            <a:r>
              <a:rPr lang="en-US" sz="1200" dirty="0"/>
              <a:t>Satellites</a:t>
            </a:r>
          </a:p>
          <a:p>
            <a:pPr>
              <a:spcBef>
                <a:spcPts val="300"/>
              </a:spcBef>
            </a:pPr>
            <a:r>
              <a:rPr lang="en-US" sz="1200" dirty="0"/>
              <a:t>Constellations</a:t>
            </a:r>
            <a:endParaRPr lang="en-US" sz="1400" dirty="0"/>
          </a:p>
        </p:txBody>
      </p:sp>
      <p:pic>
        <p:nvPicPr>
          <p:cNvPr id="6" name="Graphic 5" descr="Lightbulb">
            <a:extLst>
              <a:ext uri="{FF2B5EF4-FFF2-40B4-BE49-F238E27FC236}">
                <a16:creationId xmlns:a16="http://schemas.microsoft.com/office/drawing/2014/main" id="{074AAD60-4744-4F38-8075-FAAA1608A5A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20674" y="3832861"/>
            <a:ext cx="914400" cy="914400"/>
          </a:xfrm>
          <a:prstGeom prst="rect">
            <a:avLst/>
          </a:prstGeom>
        </p:spPr>
      </p:pic>
      <p:pic>
        <p:nvPicPr>
          <p:cNvPr id="8" name="Graphic 7" descr="Target">
            <a:extLst>
              <a:ext uri="{FF2B5EF4-FFF2-40B4-BE49-F238E27FC236}">
                <a16:creationId xmlns:a16="http://schemas.microsoft.com/office/drawing/2014/main" id="{D4AFCA0A-DFC0-4064-ABF0-D18A4F480F4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20674" y="2533651"/>
            <a:ext cx="914400" cy="914400"/>
          </a:xfrm>
          <a:prstGeom prst="rect">
            <a:avLst/>
          </a:prstGeom>
        </p:spPr>
      </p:pic>
      <p:pic>
        <p:nvPicPr>
          <p:cNvPr id="17" name="Graphic 16" descr="Handshake">
            <a:extLst>
              <a:ext uri="{FF2B5EF4-FFF2-40B4-BE49-F238E27FC236}">
                <a16:creationId xmlns:a16="http://schemas.microsoft.com/office/drawing/2014/main" id="{2EF8506B-EA61-492A-B919-50081F4ABB6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20674" y="1234441"/>
            <a:ext cx="914400" cy="914400"/>
          </a:xfrm>
          <a:prstGeom prst="rect">
            <a:avLst/>
          </a:prstGeom>
        </p:spPr>
      </p:pic>
      <p:pic>
        <p:nvPicPr>
          <p:cNvPr id="19" name="Graphic 18" descr="Satellite">
            <a:extLst>
              <a:ext uri="{FF2B5EF4-FFF2-40B4-BE49-F238E27FC236}">
                <a16:creationId xmlns:a16="http://schemas.microsoft.com/office/drawing/2014/main" id="{2718FAFC-D06B-4360-B951-9225F457D1CC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320674" y="5132071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16589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0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0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25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75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0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500"/>
                            </p:stCondLst>
                            <p:childTnLst>
                              <p:par>
                                <p:cTn id="37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00"/>
                            </p:stCondLst>
                            <p:childTnLst>
                              <p:par>
                                <p:cTn id="4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1000"/>
                            </p:stCondLst>
                            <p:childTnLst>
                              <p:par>
                                <p:cTn id="5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1500"/>
                            </p:stCondLst>
                            <p:childTnLst>
                              <p:par>
                                <p:cTn id="5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500"/>
                            </p:stCondLst>
                            <p:childTnLst>
                              <p:par>
                                <p:cTn id="6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1000"/>
                            </p:stCondLst>
                            <p:childTnLst>
                              <p:par>
                                <p:cTn id="7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1500"/>
                            </p:stCondLst>
                            <p:childTnLst>
                              <p:par>
                                <p:cTn id="7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" fill="hold">
                      <p:stCondLst>
                        <p:cond delay="indefinite"/>
                      </p:stCondLst>
                      <p:childTnLst>
                        <p:par>
                          <p:cTn id="81" fill="hold">
                            <p:stCondLst>
                              <p:cond delay="0"/>
                            </p:stCondLst>
                            <p:childTnLst>
                              <p:par>
                                <p:cTn id="8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500"/>
                            </p:stCondLst>
                            <p:childTnLst>
                              <p:par>
                                <p:cTn id="8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1000"/>
                            </p:stCondLst>
                            <p:childTnLst>
                              <p:par>
                                <p:cTn id="9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1500"/>
                            </p:stCondLst>
                            <p:childTnLst>
                              <p:par>
                                <p:cTn id="9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2000"/>
                            </p:stCondLst>
                            <p:childTnLst>
                              <p:par>
                                <p:cTn id="10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4" fill="hold">
                            <p:stCondLst>
                              <p:cond delay="2500"/>
                            </p:stCondLst>
                            <p:childTnLst>
                              <p:par>
                                <p:cTn id="10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500"/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  <p:bldP spid="12" grpId="0" uiExpand="1" build="p"/>
      <p:bldP spid="13" grpId="0" uiExpand="1" build="p"/>
      <p:bldP spid="15" grpId="0" uiExpand="1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970DDE-20DD-498E-9C83-B9D7A72B05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do we do? [FPGA Discipline]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64916542-7D78-42BE-B0A7-79A3D5982C6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80844" y="1234440"/>
            <a:ext cx="3554630" cy="5212118"/>
          </a:xfrm>
        </p:spPr>
        <p:txBody>
          <a:bodyPr>
            <a:normAutofit lnSpcReduction="10000"/>
          </a:bodyPr>
          <a:lstStyle/>
          <a:p>
            <a:pPr marL="0" lvl="0" indent="0">
              <a:buNone/>
            </a:pPr>
            <a:r>
              <a:rPr lang="en-US" sz="1400" b="1" dirty="0"/>
              <a:t>FPGA Applications</a:t>
            </a:r>
          </a:p>
          <a:p>
            <a:pPr>
              <a:spcBef>
                <a:spcPts val="600"/>
              </a:spcBef>
            </a:pPr>
            <a:r>
              <a:rPr lang="en-US" sz="1400" dirty="0"/>
              <a:t>Specialized Digital Signal Processing</a:t>
            </a:r>
          </a:p>
          <a:p>
            <a:pPr>
              <a:spcBef>
                <a:spcPts val="600"/>
              </a:spcBef>
            </a:pPr>
            <a:r>
              <a:rPr lang="en-US" sz="1400" dirty="0"/>
              <a:t>Secure networking</a:t>
            </a:r>
          </a:p>
          <a:p>
            <a:pPr>
              <a:spcBef>
                <a:spcPts val="600"/>
              </a:spcBef>
            </a:pPr>
            <a:r>
              <a:rPr lang="en-US" sz="1400" dirty="0"/>
              <a:t>Sensor, Payload, and Satellite control</a:t>
            </a:r>
          </a:p>
          <a:p>
            <a:pPr>
              <a:spcBef>
                <a:spcPts val="600"/>
              </a:spcBef>
            </a:pPr>
            <a:r>
              <a:rPr lang="en-US" sz="1400" dirty="0"/>
              <a:t>Communication MODEMs</a:t>
            </a:r>
          </a:p>
          <a:p>
            <a:pPr>
              <a:spcBef>
                <a:spcPts val="600"/>
              </a:spcBef>
            </a:pPr>
            <a:r>
              <a:rPr lang="en-US" sz="1400" dirty="0"/>
              <a:t>Fault-tolerant designs, SEU mitigations</a:t>
            </a:r>
          </a:p>
          <a:p>
            <a:pPr marL="0" lvl="0" indent="0">
              <a:spcBef>
                <a:spcPts val="1200"/>
              </a:spcBef>
              <a:buNone/>
            </a:pPr>
            <a:r>
              <a:rPr lang="en-US" sz="1400" b="1" dirty="0"/>
              <a:t>FPGA Design</a:t>
            </a:r>
          </a:p>
          <a:p>
            <a:pPr>
              <a:spcBef>
                <a:spcPts val="600"/>
              </a:spcBef>
            </a:pPr>
            <a:r>
              <a:rPr lang="en-US" sz="1400" dirty="0"/>
              <a:t>Architecture</a:t>
            </a:r>
          </a:p>
          <a:p>
            <a:pPr>
              <a:spcBef>
                <a:spcPts val="600"/>
              </a:spcBef>
            </a:pPr>
            <a:r>
              <a:rPr lang="en-US" sz="1400" dirty="0"/>
              <a:t>HDL &amp; model-based design entry</a:t>
            </a:r>
          </a:p>
          <a:p>
            <a:pPr>
              <a:spcBef>
                <a:spcPts val="600"/>
              </a:spcBef>
            </a:pPr>
            <a:r>
              <a:rPr lang="en-US" sz="1400" dirty="0"/>
              <a:t>Functional simulation &amp; modeling</a:t>
            </a:r>
          </a:p>
          <a:p>
            <a:pPr>
              <a:spcBef>
                <a:spcPts val="600"/>
              </a:spcBef>
            </a:pPr>
            <a:r>
              <a:rPr lang="en-US" sz="1400" dirty="0"/>
              <a:t>Synthesis &amp; PAR</a:t>
            </a:r>
          </a:p>
          <a:p>
            <a:pPr>
              <a:spcBef>
                <a:spcPts val="600"/>
              </a:spcBef>
            </a:pPr>
            <a:r>
              <a:rPr lang="en-US" sz="1400" dirty="0"/>
              <a:t>Integration &amp; test</a:t>
            </a:r>
          </a:p>
          <a:p>
            <a:pPr>
              <a:spcBef>
                <a:spcPts val="600"/>
              </a:spcBef>
            </a:pPr>
            <a:r>
              <a:rPr lang="en-US" sz="1400" dirty="0"/>
              <a:t>Field support</a:t>
            </a:r>
          </a:p>
          <a:p>
            <a:pPr marL="0" lvl="0" indent="0">
              <a:spcBef>
                <a:spcPts val="1200"/>
              </a:spcBef>
              <a:buNone/>
            </a:pPr>
            <a:r>
              <a:rPr lang="en-US" sz="1400" b="1" dirty="0"/>
              <a:t>FPGA Technology</a:t>
            </a:r>
          </a:p>
          <a:p>
            <a:pPr>
              <a:spcBef>
                <a:spcPts val="600"/>
              </a:spcBef>
            </a:pPr>
            <a:r>
              <a:rPr lang="en-US" sz="1400" dirty="0"/>
              <a:t>Radiation tolerant</a:t>
            </a:r>
          </a:p>
          <a:p>
            <a:pPr>
              <a:spcBef>
                <a:spcPts val="600"/>
              </a:spcBef>
            </a:pPr>
            <a:r>
              <a:rPr lang="en-US" sz="1400" dirty="0"/>
              <a:t>High-density devices</a:t>
            </a:r>
          </a:p>
          <a:p>
            <a:pPr>
              <a:spcBef>
                <a:spcPts val="600"/>
              </a:spcBef>
            </a:pPr>
            <a:r>
              <a:rPr lang="en-US" sz="1400" dirty="0"/>
              <a:t>Giga-transfer interfaces</a:t>
            </a:r>
          </a:p>
          <a:p>
            <a:pPr>
              <a:spcBef>
                <a:spcPts val="600"/>
              </a:spcBef>
            </a:pPr>
            <a:r>
              <a:rPr lang="en-US" sz="1400" dirty="0"/>
              <a:t>SoCs</a:t>
            </a:r>
          </a:p>
        </p:txBody>
      </p:sp>
      <p:pic>
        <p:nvPicPr>
          <p:cNvPr id="11" name="Content Placeholder 10" descr="Pencil">
            <a:extLst>
              <a:ext uri="{FF2B5EF4-FFF2-40B4-BE49-F238E27FC236}">
                <a16:creationId xmlns:a16="http://schemas.microsoft.com/office/drawing/2014/main" id="{17040F7E-F3D3-4F96-9501-428FCC245220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3998" y="2868442"/>
            <a:ext cx="457200" cy="457200"/>
          </a:xfrm>
        </p:spPr>
      </p:pic>
      <p:pic>
        <p:nvPicPr>
          <p:cNvPr id="10" name="Picture 2" descr="Image result for FPGA design">
            <a:extLst>
              <a:ext uri="{FF2B5EF4-FFF2-40B4-BE49-F238E27FC236}">
                <a16:creationId xmlns:a16="http://schemas.microsoft.com/office/drawing/2014/main" id="{7D9DCBEF-80DD-4082-B5C5-DCF8EE9B1D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8524" y="1234441"/>
            <a:ext cx="2284219" cy="1362448"/>
          </a:xfrm>
          <a:prstGeom prst="rect">
            <a:avLst/>
          </a:prstGeom>
          <a:noFill/>
          <a:ln w="285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 descr="Image result for FPGA">
            <a:extLst>
              <a:ext uri="{FF2B5EF4-FFF2-40B4-BE49-F238E27FC236}">
                <a16:creationId xmlns:a16="http://schemas.microsoft.com/office/drawing/2014/main" id="{D9A01089-FA38-496B-8AE4-BB68610E3F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0740" y="1238958"/>
            <a:ext cx="1702583" cy="1357932"/>
          </a:xfrm>
          <a:prstGeom prst="rect">
            <a:avLst/>
          </a:prstGeom>
          <a:noFill/>
          <a:ln w="285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3" descr="C:\Documents and Settings\dmorri12\Desktop\untitled.bmp">
            <a:extLst>
              <a:ext uri="{FF2B5EF4-FFF2-40B4-BE49-F238E27FC236}">
                <a16:creationId xmlns:a16="http://schemas.microsoft.com/office/drawing/2014/main" id="{2EB259C7-6981-4D13-A30D-24D19BC620B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/>
          <a:srcRect b="18999"/>
          <a:stretch/>
        </p:blipFill>
        <p:spPr bwMode="auto">
          <a:xfrm>
            <a:off x="4708525" y="2694261"/>
            <a:ext cx="2159000" cy="1323632"/>
          </a:xfrm>
          <a:prstGeom prst="rect">
            <a:avLst/>
          </a:prstGeom>
          <a:noFill/>
          <a:ln w="285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4" name="Picture 4" descr="Related image">
            <a:extLst>
              <a:ext uri="{FF2B5EF4-FFF2-40B4-BE49-F238E27FC236}">
                <a16:creationId xmlns:a16="http://schemas.microsoft.com/office/drawing/2014/main" id="{4CAB9AFE-63AE-4C2A-A26E-BF83F6789F7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41" b="20984"/>
          <a:stretch/>
        </p:blipFill>
        <p:spPr bwMode="auto">
          <a:xfrm>
            <a:off x="4708523" y="5181503"/>
            <a:ext cx="2159000" cy="1265055"/>
          </a:xfrm>
          <a:prstGeom prst="rect">
            <a:avLst/>
          </a:prstGeom>
          <a:noFill/>
          <a:ln w="285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6" descr="Related image">
            <a:extLst>
              <a:ext uri="{FF2B5EF4-FFF2-40B4-BE49-F238E27FC236}">
                <a16:creationId xmlns:a16="http://schemas.microsoft.com/office/drawing/2014/main" id="{EA45DEAE-C2D0-4BD1-84F9-57F871C8B9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8450" y="3915070"/>
            <a:ext cx="1834873" cy="1318911"/>
          </a:xfrm>
          <a:prstGeom prst="rect">
            <a:avLst/>
          </a:prstGeom>
          <a:noFill/>
          <a:ln w="285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Related image">
            <a:extLst>
              <a:ext uri="{FF2B5EF4-FFF2-40B4-BE49-F238E27FC236}">
                <a16:creationId xmlns:a16="http://schemas.microsoft.com/office/drawing/2014/main" id="{2C3C1776-5495-4799-9FEB-2CAD9739E7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8449" y="5325738"/>
            <a:ext cx="1834873" cy="1120820"/>
          </a:xfrm>
          <a:prstGeom prst="rect">
            <a:avLst/>
          </a:prstGeom>
          <a:noFill/>
          <a:ln w="285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4" descr="Image result for vmanager">
            <a:extLst>
              <a:ext uri="{FF2B5EF4-FFF2-40B4-BE49-F238E27FC236}">
                <a16:creationId xmlns:a16="http://schemas.microsoft.com/office/drawing/2014/main" id="{3CFAE3CB-1F85-406E-B73D-AADCACD351E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84" b="18723"/>
          <a:stretch/>
        </p:blipFill>
        <p:spPr bwMode="auto">
          <a:xfrm>
            <a:off x="4708523" y="4109651"/>
            <a:ext cx="2159000" cy="986224"/>
          </a:xfrm>
          <a:prstGeom prst="rect">
            <a:avLst/>
          </a:prstGeom>
          <a:noFill/>
          <a:ln w="285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Content Placeholder 5" descr="Screenshot-9.png">
            <a:extLst>
              <a:ext uri="{FF2B5EF4-FFF2-40B4-BE49-F238E27FC236}">
                <a16:creationId xmlns:a16="http://schemas.microsoft.com/office/drawing/2014/main" id="{A287E3CC-440D-435F-BEB6-497ABEAE9F65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/>
          <a:srcRect t="1" r="50000" b="58806"/>
          <a:stretch/>
        </p:blipFill>
        <p:spPr>
          <a:xfrm>
            <a:off x="6988450" y="2688647"/>
            <a:ext cx="1834873" cy="1134666"/>
          </a:xfrm>
          <a:prstGeom prst="rect">
            <a:avLst/>
          </a:prstGeom>
          <a:noFill/>
          <a:ln w="285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9" name="Graphic 18" descr="Processor">
            <a:extLst>
              <a:ext uri="{FF2B5EF4-FFF2-40B4-BE49-F238E27FC236}">
                <a16:creationId xmlns:a16="http://schemas.microsoft.com/office/drawing/2014/main" id="{90332307-F752-4500-AA46-B44378AFE4B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20674" y="4798624"/>
            <a:ext cx="460524" cy="460524"/>
          </a:xfrm>
          <a:prstGeom prst="rect">
            <a:avLst/>
          </a:prstGeom>
        </p:spPr>
      </p:pic>
      <p:pic>
        <p:nvPicPr>
          <p:cNvPr id="21" name="Graphic 20" descr="Satellite dish">
            <a:extLst>
              <a:ext uri="{FF2B5EF4-FFF2-40B4-BE49-F238E27FC236}">
                <a16:creationId xmlns:a16="http://schemas.microsoft.com/office/drawing/2014/main" id="{300A0EC7-865D-4486-BA67-D2B31777F83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23998" y="1188226"/>
            <a:ext cx="4572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12406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AFA9CC-54F8-4E0F-A3FA-9BE514BA5E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cations and faciliti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DEF7C2-0AD1-4642-9A4F-EAAAFDCA587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20674" y="1420445"/>
            <a:ext cx="3917951" cy="5055130"/>
          </a:xfrm>
        </p:spPr>
        <p:txBody>
          <a:bodyPr>
            <a:noAutofit/>
          </a:bodyPr>
          <a:lstStyle/>
          <a:p>
            <a:r>
              <a:rPr lang="en-US" dirty="0"/>
              <a:t>FPGA design @ multiple site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SAS headquarters: Palm Bay, FL</a:t>
            </a:r>
          </a:p>
          <a:p>
            <a:pPr lvl="1"/>
            <a:r>
              <a:rPr lang="en-US" dirty="0"/>
              <a:t>Florida’s Space Coast  ...</a:t>
            </a:r>
          </a:p>
          <a:p>
            <a:endParaRPr lang="en-US" sz="1400" dirty="0"/>
          </a:p>
          <a:p>
            <a:pPr marL="0" indent="0">
              <a:buNone/>
            </a:pPr>
            <a:endParaRPr lang="en-US" sz="800" dirty="0"/>
          </a:p>
          <a:p>
            <a:pPr marL="0" indent="0">
              <a:buNone/>
            </a:pPr>
            <a:r>
              <a:rPr lang="en-US" sz="1400" dirty="0"/>
              <a:t>	             ... 1 hour from Orlando</a:t>
            </a:r>
          </a:p>
          <a:p>
            <a:pPr marL="0" indent="0">
              <a:buNone/>
            </a:pPr>
            <a:endParaRPr lang="en-US" sz="1400" dirty="0"/>
          </a:p>
          <a:p>
            <a:pPr marL="0" indent="0">
              <a:buNone/>
            </a:pPr>
            <a:endParaRPr lang="en-US" sz="1100" dirty="0"/>
          </a:p>
          <a:p>
            <a:pPr marL="0" indent="0">
              <a:buNone/>
            </a:pPr>
            <a:r>
              <a:rPr lang="en-US" sz="1400" dirty="0"/>
              <a:t>	             ... 1 hour from KSC</a:t>
            </a:r>
          </a:p>
          <a:p>
            <a:pPr marL="0" indent="0">
              <a:buNone/>
            </a:pPr>
            <a:endParaRPr lang="en-US" sz="1400" dirty="0"/>
          </a:p>
          <a:p>
            <a:pPr marL="0" indent="0">
              <a:buNone/>
            </a:pPr>
            <a:endParaRPr lang="en-US" sz="1100" dirty="0"/>
          </a:p>
          <a:p>
            <a:pPr marL="0" indent="0">
              <a:buNone/>
            </a:pPr>
            <a:r>
              <a:rPr lang="en-US" sz="1400" dirty="0"/>
              <a:t>	             ... 3 hours from Gainesville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7F15F1D1-0A95-4F42-AD61-947FF65EDFF2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1069325" y="1691881"/>
            <a:ext cx="2617497" cy="1499793"/>
          </a:xfrm>
          <a:prstGeom prst="rect">
            <a:avLst/>
          </a:prstGeom>
        </p:spPr>
      </p:pic>
      <p:pic>
        <p:nvPicPr>
          <p:cNvPr id="7" name="Picture 2" descr="Palm Bay is between Cocoa Beach and Vero Beach on Florida's Atlantic coast.">
            <a:extLst>
              <a:ext uri="{FF2B5EF4-FFF2-40B4-BE49-F238E27FC236}">
                <a16:creationId xmlns:a16="http://schemas.microsoft.com/office/drawing/2014/main" id="{0251BB1A-2BF0-440B-921B-0DE9C0B621B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344" b="10062"/>
          <a:stretch/>
        </p:blipFill>
        <p:spPr bwMode="auto">
          <a:xfrm>
            <a:off x="2718766" y="3500438"/>
            <a:ext cx="987106" cy="795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Image result for palm bay, fl">
            <a:extLst>
              <a:ext uri="{FF2B5EF4-FFF2-40B4-BE49-F238E27FC236}">
                <a16:creationId xmlns:a16="http://schemas.microsoft.com/office/drawing/2014/main" id="{2FFD7E01-EF5F-40FF-9EBB-05BE71EF4E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064" y="4650371"/>
            <a:ext cx="1346579" cy="8997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6" descr="Image result for epcot">
            <a:extLst>
              <a:ext uri="{FF2B5EF4-FFF2-40B4-BE49-F238E27FC236}">
                <a16:creationId xmlns:a16="http://schemas.microsoft.com/office/drawing/2014/main" id="{AC1C00F4-578C-454B-AAAF-045D117702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683" y="3830057"/>
            <a:ext cx="1346960" cy="758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8" descr="Image result for florida field">
            <a:extLst>
              <a:ext uri="{FF2B5EF4-FFF2-40B4-BE49-F238E27FC236}">
                <a16:creationId xmlns:a16="http://schemas.microsoft.com/office/drawing/2014/main" id="{EF59B4A3-8A57-4F2C-97C9-78DF80AFAD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683" y="5612263"/>
            <a:ext cx="1346579" cy="863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0C9E783-7774-4640-ABE1-73592C34EA6C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43" b="34686"/>
          <a:stretch/>
        </p:blipFill>
        <p:spPr>
          <a:xfrm>
            <a:off x="4435474" y="3500438"/>
            <a:ext cx="3037874" cy="1022090"/>
          </a:xfrm>
          <a:prstGeom prst="rect">
            <a:avLst/>
          </a:prstGeom>
        </p:spPr>
      </p:pic>
      <p:pic>
        <p:nvPicPr>
          <p:cNvPr id="15" name="Picture 16" descr="Related image">
            <a:extLst>
              <a:ext uri="{FF2B5EF4-FFF2-40B4-BE49-F238E27FC236}">
                <a16:creationId xmlns:a16="http://schemas.microsoft.com/office/drawing/2014/main" id="{92BA6113-9030-400F-854B-35D60190276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94" t="3915" r="2351"/>
          <a:stretch/>
        </p:blipFill>
        <p:spPr bwMode="auto">
          <a:xfrm>
            <a:off x="4435473" y="1479973"/>
            <a:ext cx="3037875" cy="19762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Image result for harris technology center">
            <a:extLst>
              <a:ext uri="{FF2B5EF4-FFF2-40B4-BE49-F238E27FC236}">
                <a16:creationId xmlns:a16="http://schemas.microsoft.com/office/drawing/2014/main" id="{5B8DFAE8-BF97-4119-BB44-E62C177E721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3" r="2"/>
          <a:stretch/>
        </p:blipFill>
        <p:spPr bwMode="auto">
          <a:xfrm>
            <a:off x="4435474" y="4570985"/>
            <a:ext cx="3037874" cy="18980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6" descr="Related image">
            <a:extLst>
              <a:ext uri="{FF2B5EF4-FFF2-40B4-BE49-F238E27FC236}">
                <a16:creationId xmlns:a16="http://schemas.microsoft.com/office/drawing/2014/main" id="{F4ED21B9-8AED-4E3A-AA8B-30D6370D33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5495" y="1479972"/>
            <a:ext cx="1297831" cy="997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8" descr="Related image">
            <a:extLst>
              <a:ext uri="{FF2B5EF4-FFF2-40B4-BE49-F238E27FC236}">
                <a16:creationId xmlns:a16="http://schemas.microsoft.com/office/drawing/2014/main" id="{D412001E-2460-4D17-8AE2-6E08F7BE028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086"/>
          <a:stretch/>
        </p:blipFill>
        <p:spPr bwMode="auto">
          <a:xfrm>
            <a:off x="7525496" y="2524775"/>
            <a:ext cx="1297830" cy="997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10" descr="Related image">
            <a:extLst>
              <a:ext uri="{FF2B5EF4-FFF2-40B4-BE49-F238E27FC236}">
                <a16:creationId xmlns:a16="http://schemas.microsoft.com/office/drawing/2014/main" id="{D5DF491E-539E-4E1D-8FB2-44C4500D27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5496" y="3569577"/>
            <a:ext cx="1297830" cy="866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D9AAA639-8751-49CE-B2E9-FF5AA5EC931D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5496" y="4483900"/>
            <a:ext cx="1297830" cy="865527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D3764548-46FA-4517-AF3C-FB453052F70F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5496" y="5397142"/>
            <a:ext cx="1297830" cy="1071922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46D25B8C-131F-48DC-A9EA-217F29F9422B}"/>
              </a:ext>
            </a:extLst>
          </p:cNvPr>
          <p:cNvSpPr txBox="1"/>
          <p:nvPr/>
        </p:nvSpPr>
        <p:spPr>
          <a:xfrm>
            <a:off x="4435472" y="1174225"/>
            <a:ext cx="4387854" cy="246221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900"/>
              </a:spcBef>
              <a:buSzPct val="100000"/>
            </a:pPr>
            <a:r>
              <a:rPr lang="en-US" sz="1600" dirty="0">
                <a:solidFill>
                  <a:schemeClr val="bg1"/>
                </a:solidFill>
              </a:rPr>
              <a:t>(L3)Harris Technology Center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6D54483-7325-4C7C-BBAC-19A9591187E8}"/>
              </a:ext>
            </a:extLst>
          </p:cNvPr>
          <p:cNvSpPr txBox="1"/>
          <p:nvPr/>
        </p:nvSpPr>
        <p:spPr>
          <a:xfrm>
            <a:off x="320674" y="1174224"/>
            <a:ext cx="3917950" cy="246221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900"/>
              </a:spcBef>
              <a:buSzPct val="100000"/>
            </a:pPr>
            <a:r>
              <a:rPr lang="en-US" sz="1600" dirty="0">
                <a:solidFill>
                  <a:schemeClr val="bg1"/>
                </a:solidFill>
              </a:rPr>
              <a:t>Locations</a:t>
            </a:r>
          </a:p>
        </p:txBody>
      </p:sp>
    </p:spTree>
    <p:extLst>
      <p:ext uri="{BB962C8B-B14F-4D97-AF65-F5344CB8AC3E}">
        <p14:creationId xmlns:p14="http://schemas.microsoft.com/office/powerpoint/2010/main" val="23154040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500"/>
                            </p:stCondLst>
                            <p:childTnLst>
                              <p:par>
                                <p:cTn id="3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500"/>
                            </p:stCondLst>
                            <p:childTnLst>
                              <p:par>
                                <p:cTn id="4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500"/>
                            </p:stCondLst>
                            <p:childTnLst>
                              <p:par>
                                <p:cTn id="5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500"/>
                            </p:stCondLst>
                            <p:childTnLst>
                              <p:par>
                                <p:cTn id="70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1500"/>
                            </p:stCondLst>
                            <p:childTnLst>
                              <p:par>
                                <p:cTn id="74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2500"/>
                            </p:stCondLst>
                            <p:childTnLst>
                              <p:par>
                                <p:cTn id="78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3500"/>
                            </p:stCondLst>
                            <p:childTnLst>
                              <p:par>
                                <p:cTn id="82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4500"/>
                            </p:stCondLst>
                            <p:childTnLst>
                              <p:par>
                                <p:cTn id="86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5500"/>
                            </p:stCondLst>
                            <p:childTnLst>
                              <p:par>
                                <p:cTn id="90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3" fill="hold">
                            <p:stCondLst>
                              <p:cond delay="6500"/>
                            </p:stCondLst>
                            <p:childTnLst>
                              <p:par>
                                <p:cTn id="94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27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AFA9CC-54F8-4E0F-A3FA-9BE514BA5E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ny more locations ...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A7AD9F68-5257-46F7-8FBC-549BE1699B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0674" y="1044814"/>
            <a:ext cx="8502649" cy="5401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66473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FB1CF5-5C99-4146-84D5-CE58726054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o we’re looking for ...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27E183B-85E3-44AF-B3B1-9CBAC7959D3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Clr>
                <a:schemeClr val="accent4"/>
              </a:buClr>
              <a:buFont typeface="Wingdings" panose="05000000000000000000" pitchFamily="2" charset="2"/>
              <a:buChar char="ü"/>
            </a:pPr>
            <a:r>
              <a:rPr lang="en-US" dirty="0"/>
              <a:t>FPGA/VHDL designers ...</a:t>
            </a:r>
          </a:p>
          <a:p>
            <a:endParaRPr lang="en-US" dirty="0"/>
          </a:p>
          <a:p>
            <a:endParaRPr lang="en-US" dirty="0"/>
          </a:p>
          <a:p>
            <a:endParaRPr lang="en-US" sz="400" dirty="0"/>
          </a:p>
          <a:p>
            <a:pPr>
              <a:buClr>
                <a:schemeClr val="accent4"/>
              </a:buClr>
              <a:buFont typeface="Wingdings" panose="05000000000000000000" pitchFamily="2" charset="2"/>
              <a:buChar char="ü"/>
            </a:pPr>
            <a:r>
              <a:rPr lang="en-US" dirty="0"/>
              <a:t>Design Engineers interested in contributing to systems that </a:t>
            </a:r>
            <a:r>
              <a:rPr lang="en-US" u="sng" dirty="0">
                <a:solidFill>
                  <a:srgbClr val="C00000"/>
                </a:solidFill>
              </a:rPr>
              <a:t>make a difference</a:t>
            </a:r>
            <a:r>
              <a:rPr lang="en-US" dirty="0"/>
              <a:t> ...</a:t>
            </a:r>
          </a:p>
          <a:p>
            <a:endParaRPr lang="en-US" u="sng" dirty="0">
              <a:solidFill>
                <a:srgbClr val="C00000"/>
              </a:solidFill>
            </a:endParaRPr>
          </a:p>
          <a:p>
            <a:endParaRPr lang="en-US" u="sng" dirty="0">
              <a:solidFill>
                <a:srgbClr val="C00000"/>
              </a:solidFill>
            </a:endParaRPr>
          </a:p>
          <a:p>
            <a:endParaRPr lang="en-US" u="sng" dirty="0">
              <a:solidFill>
                <a:srgbClr val="C00000"/>
              </a:solidFill>
            </a:endParaRPr>
          </a:p>
          <a:p>
            <a:endParaRPr lang="en-US" sz="1200" u="sng" dirty="0">
              <a:solidFill>
                <a:srgbClr val="C00000"/>
              </a:solidFill>
            </a:endParaRPr>
          </a:p>
          <a:p>
            <a:pPr marL="0" indent="0">
              <a:buNone/>
            </a:pPr>
            <a:r>
              <a:rPr lang="en-US" dirty="0"/>
              <a:t>    ... Not just a more efficient USB-C macro or the next </a:t>
            </a:r>
            <a:r>
              <a:rPr lang="en-US" dirty="0" err="1"/>
              <a:t>iDevice</a:t>
            </a:r>
            <a:r>
              <a:rPr lang="en-US" dirty="0"/>
              <a:t> touch sensor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  <a:p>
            <a:endParaRPr lang="en-US" sz="900" dirty="0"/>
          </a:p>
          <a:p>
            <a:pPr>
              <a:buClr>
                <a:schemeClr val="accent4"/>
              </a:buClr>
              <a:buFont typeface="Wingdings" panose="05000000000000000000" pitchFamily="2" charset="2"/>
              <a:buChar char="ü"/>
            </a:pPr>
            <a:r>
              <a:rPr lang="en-US" dirty="0"/>
              <a:t>Ability to obtain a security clearanc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6730648-FCF7-4EE7-9B78-39C8E86C994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Picture 10" descr="Image result for FPGA">
            <a:extLst>
              <a:ext uri="{FF2B5EF4-FFF2-40B4-BE49-F238E27FC236}">
                <a16:creationId xmlns:a16="http://schemas.microsoft.com/office/drawing/2014/main" id="{5CDDC534-D3F0-495F-AAB5-45772D9091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0420" y="1235075"/>
            <a:ext cx="1464662" cy="11371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Related image">
            <a:extLst>
              <a:ext uri="{FF2B5EF4-FFF2-40B4-BE49-F238E27FC236}">
                <a16:creationId xmlns:a16="http://schemas.microsoft.com/office/drawing/2014/main" id="{544673F7-4D1D-47D4-A443-1E0C44E2C9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2356" y="1235075"/>
            <a:ext cx="2530967" cy="11371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E71B30F-4AE5-4486-BDC0-4E57840976B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25" t="26539" r="1354" b="38846"/>
          <a:stretch/>
        </p:blipFill>
        <p:spPr>
          <a:xfrm>
            <a:off x="690563" y="2895976"/>
            <a:ext cx="7762875" cy="1484928"/>
          </a:xfrm>
          <a:prstGeom prst="rect">
            <a:avLst/>
          </a:prstGeom>
        </p:spPr>
      </p:pic>
      <p:pic>
        <p:nvPicPr>
          <p:cNvPr id="11" name="Picture 8" descr="Image result for lame USB">
            <a:extLst>
              <a:ext uri="{FF2B5EF4-FFF2-40B4-BE49-F238E27FC236}">
                <a16:creationId xmlns:a16="http://schemas.microsoft.com/office/drawing/2014/main" id="{D2F23ECC-A853-431B-BFC3-7674542016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8709" y="4491310"/>
            <a:ext cx="1446582" cy="1446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" descr="Image result for lame stamp">
            <a:extLst>
              <a:ext uri="{FF2B5EF4-FFF2-40B4-BE49-F238E27FC236}">
                <a16:creationId xmlns:a16="http://schemas.microsoft.com/office/drawing/2014/main" id="{280DFA3C-5553-459A-AE6D-8DD18FE407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6692" y="4646004"/>
            <a:ext cx="1467455" cy="11371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325377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3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72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540970-1B5C-46B2-B83F-C999913C55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e see us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95866B35-3279-432D-A50C-2A94EB922A7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26701843"/>
              </p:ext>
            </p:extLst>
          </p:nvPr>
        </p:nvGraphicFramePr>
        <p:xfrm>
          <a:off x="320675" y="1235075"/>
          <a:ext cx="8502652" cy="5086212"/>
        </p:xfrm>
        <a:graphic>
          <a:graphicData uri="http://schemas.openxmlformats.org/drawingml/2006/table">
            <a:tbl>
              <a:tblPr firstRow="1" bandRow="1">
                <a:tableStyleId>{EA638B19-AF8F-4D81-84F4-C0FB9B5D45B4}</a:tableStyleId>
              </a:tblPr>
              <a:tblGrid>
                <a:gridCol w="2330246">
                  <a:extLst>
                    <a:ext uri="{9D8B030D-6E8A-4147-A177-3AD203B41FA5}">
                      <a16:colId xmlns:a16="http://schemas.microsoft.com/office/drawing/2014/main" val="1219481115"/>
                    </a:ext>
                  </a:extLst>
                </a:gridCol>
                <a:gridCol w="2315362">
                  <a:extLst>
                    <a:ext uri="{9D8B030D-6E8A-4147-A177-3AD203B41FA5}">
                      <a16:colId xmlns:a16="http://schemas.microsoft.com/office/drawing/2014/main" val="620011870"/>
                    </a:ext>
                  </a:extLst>
                </a:gridCol>
                <a:gridCol w="1731381">
                  <a:extLst>
                    <a:ext uri="{9D8B030D-6E8A-4147-A177-3AD203B41FA5}">
                      <a16:colId xmlns:a16="http://schemas.microsoft.com/office/drawing/2014/main" val="3590462194"/>
                    </a:ext>
                  </a:extLst>
                </a:gridCol>
                <a:gridCol w="2125663">
                  <a:extLst>
                    <a:ext uri="{9D8B030D-6E8A-4147-A177-3AD203B41FA5}">
                      <a16:colId xmlns:a16="http://schemas.microsoft.com/office/drawing/2014/main" val="41467329"/>
                    </a:ext>
                  </a:extLst>
                </a:gridCol>
              </a:tblGrid>
              <a:tr h="315429">
                <a:tc>
                  <a:txBody>
                    <a:bodyPr/>
                    <a:lstStyle/>
                    <a:p>
                      <a:r>
                        <a:rPr lang="en-US" sz="1400" dirty="0"/>
                        <a:t>Wha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Wh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Whe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Wh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14544770"/>
                  </a:ext>
                </a:extLst>
              </a:tr>
              <a:tr h="663024">
                <a:tc>
                  <a:txBody>
                    <a:bodyPr/>
                    <a:lstStyle/>
                    <a:p>
                      <a:r>
                        <a:rPr lang="en-US" sz="1400" b="1" dirty="0"/>
                        <a:t>L3Harris ECE Info Ni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Wednesday 1/22 @ 7p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Larsen 2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Dean, Travis, Tre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62483110"/>
                  </a:ext>
                </a:extLst>
              </a:tr>
              <a:tr h="1689349">
                <a:tc>
                  <a:txBody>
                    <a:bodyPr/>
                    <a:lstStyle/>
                    <a:p>
                      <a:r>
                        <a:rPr lang="en-US" sz="1400" b="1" dirty="0"/>
                        <a:t>UF Career Showca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Wednesday 9/25</a:t>
                      </a:r>
                      <a:br>
                        <a:rPr lang="en-US" sz="1400" dirty="0"/>
                      </a:br>
                      <a:r>
                        <a:rPr lang="en-US" sz="1400" dirty="0"/>
                        <a:t>9am – 3p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O’Connell Cen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Travis McConnaughey</a:t>
                      </a:r>
                    </a:p>
                    <a:p>
                      <a:endParaRPr lang="en-US" sz="1400" dirty="0"/>
                    </a:p>
                    <a:p>
                      <a:endParaRPr lang="en-US" sz="1400" dirty="0"/>
                    </a:p>
                    <a:p>
                      <a:endParaRPr lang="en-US" sz="1400" dirty="0"/>
                    </a:p>
                    <a:p>
                      <a:endParaRPr lang="en-US" sz="1400" dirty="0"/>
                    </a:p>
                    <a:p>
                      <a:endParaRPr lang="en-US" sz="1400" dirty="0"/>
                    </a:p>
                    <a:p>
                      <a:r>
                        <a:rPr lang="en-US" sz="1400" dirty="0"/>
                        <a:t>Trey Staton</a:t>
                      </a:r>
                    </a:p>
                    <a:p>
                      <a:endParaRPr lang="en-US" sz="1400" dirty="0"/>
                    </a:p>
                    <a:p>
                      <a:endParaRPr lang="en-US" sz="1400" dirty="0"/>
                    </a:p>
                    <a:p>
                      <a:endParaRPr lang="en-US" sz="1400" dirty="0"/>
                    </a:p>
                    <a:p>
                      <a:endParaRPr lang="en-US" sz="1400" dirty="0"/>
                    </a:p>
                    <a:p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31254"/>
                  </a:ext>
                </a:extLst>
              </a:tr>
              <a:tr h="1455999">
                <a:tc>
                  <a:txBody>
                    <a:bodyPr/>
                    <a:lstStyle/>
                    <a:p>
                      <a:r>
                        <a:rPr lang="en-US" sz="1400" b="1" dirty="0"/>
                        <a:t>L3Harris Info Ni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Wednesday 2/5 </a:t>
                      </a:r>
                      <a:br>
                        <a:rPr lang="en-US" sz="1400" dirty="0"/>
                      </a:br>
                      <a:r>
                        <a:rPr lang="en-US" sz="1400" dirty="0"/>
                        <a:t>4:30pm – 6:30p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New Career Connection Center, Exploration Roo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Anyone</a:t>
                      </a:r>
                    </a:p>
                    <a:p>
                      <a:endParaRPr lang="en-US" sz="1400" dirty="0"/>
                    </a:p>
                    <a:p>
                      <a:endParaRPr lang="en-US" sz="1400" dirty="0"/>
                    </a:p>
                    <a:p>
                      <a:endParaRPr lang="en-US" sz="1400" dirty="0"/>
                    </a:p>
                    <a:p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16937831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B6E0836A-05AF-4DB5-BCF9-3977FD13C8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90968" y="2530761"/>
            <a:ext cx="692014" cy="87402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FD8A12A-E733-4130-BAAE-1E8039F1BF7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90967" y="3784449"/>
            <a:ext cx="692014" cy="923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06008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_VrQJGRJKxHAJDJtIEWg"/>
</p:tagLst>
</file>

<file path=ppt/theme/theme1.xml><?xml version="1.0" encoding="utf-8"?>
<a:theme xmlns:a="http://schemas.openxmlformats.org/drawingml/2006/main" name="L3Harris">
  <a:themeElements>
    <a:clrScheme name="L3Harris Colors">
      <a:dk1>
        <a:srgbClr val="283030"/>
      </a:dk1>
      <a:lt1>
        <a:srgbClr val="FFFFFF"/>
      </a:lt1>
      <a:dk2>
        <a:srgbClr val="FF000A"/>
      </a:dk2>
      <a:lt2>
        <a:srgbClr val="A4E3E4"/>
      </a:lt2>
      <a:accent1>
        <a:srgbClr val="172430"/>
      </a:accent1>
      <a:accent2>
        <a:srgbClr val="4A98D0"/>
      </a:accent2>
      <a:accent3>
        <a:srgbClr val="2E5194"/>
      </a:accent3>
      <a:accent4>
        <a:srgbClr val="39A067"/>
      </a:accent4>
      <a:accent5>
        <a:srgbClr val="58595B"/>
      </a:accent5>
      <a:accent6>
        <a:srgbClr val="E35205"/>
      </a:accent6>
      <a:hlink>
        <a:srgbClr val="2E5194"/>
      </a:hlink>
      <a:folHlink>
        <a:srgbClr val="2E5194"/>
      </a:folHlink>
    </a:clrScheme>
    <a:fontScheme name="L3Harris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3Harris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600"/>
        </a:defPPr>
      </a:lstStyle>
      <a:style>
        <a:lnRef idx="0">
          <a:schemeClr val="accent1"/>
        </a:lnRef>
        <a:fillRef idx="1">
          <a:schemeClr val="accent1"/>
        </a:fillRef>
        <a:effectRef idx="0">
          <a:srgbClr val="000000"/>
        </a:effectRef>
        <a:fontRef idx="minor">
          <a:schemeClr val="lt2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rgbClr val="000000"/>
        </a:effectRef>
        <a:fontRef idx="minor">
          <a:schemeClr val="lt2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00000"/>
          </a:lnSpc>
          <a:spcBef>
            <a:spcPts val="900"/>
          </a:spcBef>
          <a:buSzPct val="100000"/>
          <a:defRPr sz="18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4x3_L3Harris_PPT_Non-Proprietary_Template.pptm" id="{397E71D4-9B17-4B3E-BCC4-93FF91871B88}" vid="{BDCE21AF-7D4B-4CC2-BD66-70621545B044}"/>
    </a:ext>
  </a:extLst>
</a:theme>
</file>

<file path=ppt/theme/theme2.xml><?xml version="1.0" encoding="utf-8"?>
<a:theme xmlns:a="http://schemas.openxmlformats.org/drawingml/2006/main" name="L3Harris">
  <a:themeElements>
    <a:clrScheme name="L3Harris Colors">
      <a:dk1>
        <a:srgbClr val="283030"/>
      </a:dk1>
      <a:lt1>
        <a:srgbClr val="FFFFFF"/>
      </a:lt1>
      <a:dk2>
        <a:srgbClr val="FF000A"/>
      </a:dk2>
      <a:lt2>
        <a:srgbClr val="A4E3E4"/>
      </a:lt2>
      <a:accent1>
        <a:srgbClr val="172430"/>
      </a:accent1>
      <a:accent2>
        <a:srgbClr val="4A98D0"/>
      </a:accent2>
      <a:accent3>
        <a:srgbClr val="2E5194"/>
      </a:accent3>
      <a:accent4>
        <a:srgbClr val="39A067"/>
      </a:accent4>
      <a:accent5>
        <a:srgbClr val="58595B"/>
      </a:accent5>
      <a:accent6>
        <a:srgbClr val="E35205"/>
      </a:accent6>
      <a:hlink>
        <a:srgbClr val="2E5194"/>
      </a:hlink>
      <a:folHlink>
        <a:srgbClr val="2E5194"/>
      </a:folHlink>
    </a:clrScheme>
    <a:fontScheme name="L3Harris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3Harris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600"/>
        </a:defPPr>
      </a:lstStyle>
      <a:style>
        <a:lnRef idx="0">
          <a:schemeClr val="accent1"/>
        </a:lnRef>
        <a:fillRef idx="1">
          <a:schemeClr val="accent1"/>
        </a:fillRef>
        <a:effectRef idx="0">
          <a:srgbClr val="000000"/>
        </a:effectRef>
        <a:fontRef idx="minor">
          <a:schemeClr val="lt2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rgbClr val="000000"/>
        </a:effectRef>
        <a:fontRef idx="minor">
          <a:schemeClr val="lt2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171450" indent="-171450">
          <a:lnSpc>
            <a:spcPct val="100000"/>
          </a:lnSpc>
          <a:spcBef>
            <a:spcPts val="900"/>
          </a:spcBef>
          <a:buSzPct val="100000"/>
          <a:buFont typeface="Arial"/>
          <a:buChar char="•"/>
          <a:defRPr sz="1800"/>
        </a:defPPr>
      </a:lstStyle>
    </a:txDef>
  </a:objectDefaults>
  <a:extraClrSchemeLst/>
</a:theme>
</file>

<file path=ppt/theme/theme3.xml><?xml version="1.0" encoding="utf-8"?>
<a:theme xmlns:a="http://schemas.openxmlformats.org/drawingml/2006/main" name="L3Harris">
  <a:themeElements>
    <a:clrScheme name="L3Harris Colors">
      <a:dk1>
        <a:srgbClr val="283030"/>
      </a:dk1>
      <a:lt1>
        <a:srgbClr val="FFFFFF"/>
      </a:lt1>
      <a:dk2>
        <a:srgbClr val="FF000A"/>
      </a:dk2>
      <a:lt2>
        <a:srgbClr val="A4E3E4"/>
      </a:lt2>
      <a:accent1>
        <a:srgbClr val="172430"/>
      </a:accent1>
      <a:accent2>
        <a:srgbClr val="4A98D0"/>
      </a:accent2>
      <a:accent3>
        <a:srgbClr val="2E5194"/>
      </a:accent3>
      <a:accent4>
        <a:srgbClr val="39A067"/>
      </a:accent4>
      <a:accent5>
        <a:srgbClr val="58595B"/>
      </a:accent5>
      <a:accent6>
        <a:srgbClr val="E35205"/>
      </a:accent6>
      <a:hlink>
        <a:srgbClr val="2E5194"/>
      </a:hlink>
      <a:folHlink>
        <a:srgbClr val="2E5194"/>
      </a:folHlink>
    </a:clrScheme>
    <a:fontScheme name="L3Harris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3Harris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600"/>
        </a:defPPr>
      </a:lstStyle>
      <a:style>
        <a:lnRef idx="0">
          <a:schemeClr val="accent1"/>
        </a:lnRef>
        <a:fillRef idx="1">
          <a:schemeClr val="accent1"/>
        </a:fillRef>
        <a:effectRef idx="0">
          <a:srgbClr val="000000"/>
        </a:effectRef>
        <a:fontRef idx="minor">
          <a:schemeClr val="lt2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rgbClr val="000000"/>
        </a:effectRef>
        <a:fontRef idx="minor">
          <a:schemeClr val="lt2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171450" indent="-171450">
          <a:lnSpc>
            <a:spcPct val="100000"/>
          </a:lnSpc>
          <a:spcBef>
            <a:spcPts val="900"/>
          </a:spcBef>
          <a:buSzPct val="100000"/>
          <a:buFont typeface="Arial"/>
          <a:buChar char="•"/>
          <a:defRPr sz="1800"/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7F3818E31BD3349858B5375B20B932B" ma:contentTypeVersion="0" ma:contentTypeDescription="Create a new document." ma:contentTypeScope="" ma:versionID="d596ce1d5681717f39c43f1293587754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CFF9348-9D3C-4199-B9AF-D35557A0903B}">
  <ds:schemaRefs>
    <ds:schemaRef ds:uri="http://schemas.microsoft.com/office/2006/metadata/properties"/>
    <ds:schemaRef ds:uri="http://schemas.microsoft.com/office/2006/documentManagement/types"/>
    <ds:schemaRef ds:uri="http://www.w3.org/XML/1998/namespace"/>
    <ds:schemaRef ds:uri="http://purl.org/dc/terms/"/>
    <ds:schemaRef ds:uri="http://purl.org/dc/elements/1.1/"/>
    <ds:schemaRef ds:uri="http://purl.org/dc/dcmitype/"/>
    <ds:schemaRef ds:uri="http://schemas.microsoft.com/office/infopath/2007/PartnerControls"/>
    <ds:schemaRef ds:uri="http://schemas.openxmlformats.org/package/2006/metadata/core-properties"/>
  </ds:schemaRefs>
</ds:datastoreItem>
</file>

<file path=customXml/itemProps2.xml><?xml version="1.0" encoding="utf-8"?>
<ds:datastoreItem xmlns:ds="http://schemas.openxmlformats.org/officeDocument/2006/customXml" ds:itemID="{F12A51CE-1EA7-4FFC-A671-86FD5967C9A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F343AB8-1945-43AF-896B-65CE9AC479E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4x3_L3Harris_PPT_Non-Proprietary_Template</Template>
  <TotalTime>724</TotalTime>
  <Words>394</Words>
  <Application>Microsoft Office PowerPoint</Application>
  <PresentationFormat>On-screen Show (4:3)</PresentationFormat>
  <Paragraphs>167</Paragraphs>
  <Slides>12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7" baseType="lpstr">
      <vt:lpstr>Arial</vt:lpstr>
      <vt:lpstr>Calibri</vt:lpstr>
      <vt:lpstr>Wingdings</vt:lpstr>
      <vt:lpstr>L3Harris</vt:lpstr>
      <vt:lpstr>think-cell Slide</vt:lpstr>
      <vt:lpstr>FPGA Design Opportunities</vt:lpstr>
      <vt:lpstr>Who is this guy?</vt:lpstr>
      <vt:lpstr>What’s L3Harris?</vt:lpstr>
      <vt:lpstr>What do we do? [Space and Airborne Systems]</vt:lpstr>
      <vt:lpstr>What do we do? [FPGA Discipline]</vt:lpstr>
      <vt:lpstr>Locations and facilities</vt:lpstr>
      <vt:lpstr>Many more locations ...</vt:lpstr>
      <vt:lpstr>Who we’re looking for ...</vt:lpstr>
      <vt:lpstr>Come see us</vt:lpstr>
      <vt:lpstr>Questions?</vt:lpstr>
      <vt:lpstr>Interested?</vt:lpstr>
      <vt:lpstr>PowerPoint Presentation</vt:lpstr>
    </vt:vector>
  </TitlesOfParts>
  <Manager/>
  <Company>L3Harris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PGA Design Opportunities</dc:title>
  <dc:subject/>
  <dc:creator>Morrison, Dean (US)</dc:creator>
  <cp:keywords/>
  <dc:description/>
  <cp:lastModifiedBy>Morrison, Dean (US)</cp:lastModifiedBy>
  <cp:revision>27</cp:revision>
  <cp:lastPrinted>2020-01-08T18:12:52Z</cp:lastPrinted>
  <dcterms:created xsi:type="dcterms:W3CDTF">2019-09-03T21:39:34Z</dcterms:created>
  <dcterms:modified xsi:type="dcterms:W3CDTF">2020-01-22T04:26:28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f99945e3-fe99-4508-8efa-5bd892d464b0</vt:lpwstr>
  </property>
  <property fmtid="{D5CDD505-2E9C-101B-9397-08002B2CF9AE}" pid="3" name="CLASSIFICATION">
    <vt:lpwstr>General</vt:lpwstr>
  </property>
  <property fmtid="{D5CDD505-2E9C-101B-9397-08002B2CF9AE}" pid="4" name="ContentTypeId">
    <vt:lpwstr>0x010100D7F3818E31BD3349858B5375B20B932B</vt:lpwstr>
  </property>
</Properties>
</file>